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" name="think-cell data - do not delete" hidden="1">
            <a:extLst>
              <a:ext uri="{FF2B5EF4-FFF2-40B4-BE49-F238E27FC236}">
                <a16:creationId xmlns:a16="http://schemas.microsoft.com/office/drawing/2014/main" id="{233B100E-3AAB-BF18-1ED1-A3F13D6629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3B100E-3AAB-BF18-1ED1-A3F13D662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6D7AD6-3F30-AB81-6B84-65F2B27BE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E834EB-C459-D1DD-5F85-E87AEB148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9" name="Shape1_20200717_154412">
            <a:extLst>
              <a:ext uri="{FF2B5EF4-FFF2-40B4-BE49-F238E27FC236}">
                <a16:creationId xmlns:a16="http://schemas.microsoft.com/office/drawing/2014/main" id="{4CA9AF67-2CAA-B7D0-CAE1-93A9D4C0CD5E}"/>
              </a:ext>
            </a:extLst>
          </p:cNvPr>
          <p:cNvGrpSpPr/>
          <p:nvPr/>
        </p:nvGrpSpPr>
        <p:grpSpPr>
          <a:xfrm>
            <a:off x="8515299" y="1392443"/>
            <a:ext cx="383624" cy="335670"/>
            <a:chOff x="-5765030" y="2231754"/>
            <a:chExt cx="339646" cy="297189"/>
          </a:xfrm>
          <a:solidFill>
            <a:schemeClr val="accent1"/>
          </a:solidFill>
        </p:grpSpPr>
        <p:sp>
          <p:nvSpPr>
            <p:cNvPr id="30" name="Freeform 127">
              <a:extLst>
                <a:ext uri="{FF2B5EF4-FFF2-40B4-BE49-F238E27FC236}">
                  <a16:creationId xmlns:a16="http://schemas.microsoft.com/office/drawing/2014/main" id="{BDE1B1EF-30F7-5DB5-A924-75315C32C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5030" y="2231754"/>
              <a:ext cx="339646" cy="178314"/>
            </a:xfrm>
            <a:custGeom>
              <a:avLst/>
              <a:gdLst>
                <a:gd name="T0" fmla="*/ 156 w 160"/>
                <a:gd name="T1" fmla="*/ 83 h 83"/>
                <a:gd name="T2" fmla="*/ 153 w 160"/>
                <a:gd name="T3" fmla="*/ 82 h 83"/>
                <a:gd name="T4" fmla="*/ 80 w 160"/>
                <a:gd name="T5" fmla="*/ 9 h 83"/>
                <a:gd name="T6" fmla="*/ 6 w 160"/>
                <a:gd name="T7" fmla="*/ 82 h 83"/>
                <a:gd name="T8" fmla="*/ 1 w 160"/>
                <a:gd name="T9" fmla="*/ 82 h 83"/>
                <a:gd name="T10" fmla="*/ 1 w 160"/>
                <a:gd name="T11" fmla="*/ 77 h 83"/>
                <a:gd name="T12" fmla="*/ 77 w 160"/>
                <a:gd name="T13" fmla="*/ 1 h 83"/>
                <a:gd name="T14" fmla="*/ 82 w 160"/>
                <a:gd name="T15" fmla="*/ 1 h 83"/>
                <a:gd name="T16" fmla="*/ 158 w 160"/>
                <a:gd name="T17" fmla="*/ 77 h 83"/>
                <a:gd name="T18" fmla="*/ 158 w 160"/>
                <a:gd name="T19" fmla="*/ 82 h 83"/>
                <a:gd name="T20" fmla="*/ 156 w 160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3">
                  <a:moveTo>
                    <a:pt x="156" y="83"/>
                  </a:moveTo>
                  <a:cubicBezTo>
                    <a:pt x="155" y="83"/>
                    <a:pt x="154" y="83"/>
                    <a:pt x="153" y="8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3"/>
                    <a:pt x="3" y="83"/>
                    <a:pt x="1" y="82"/>
                  </a:cubicBezTo>
                  <a:cubicBezTo>
                    <a:pt x="0" y="81"/>
                    <a:pt x="0" y="78"/>
                    <a:pt x="1" y="77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9" y="0"/>
                    <a:pt x="81" y="0"/>
                    <a:pt x="82" y="1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60" y="78"/>
                    <a:pt x="160" y="81"/>
                    <a:pt x="158" y="82"/>
                  </a:cubicBezTo>
                  <a:cubicBezTo>
                    <a:pt x="158" y="83"/>
                    <a:pt x="157" y="83"/>
                    <a:pt x="156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28">
              <a:extLst>
                <a:ext uri="{FF2B5EF4-FFF2-40B4-BE49-F238E27FC236}">
                  <a16:creationId xmlns:a16="http://schemas.microsoft.com/office/drawing/2014/main" id="{2F73E5E7-C396-B0AE-3418-3D7DD0BB9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5030" y="2350629"/>
              <a:ext cx="339646" cy="178314"/>
            </a:xfrm>
            <a:custGeom>
              <a:avLst/>
              <a:gdLst>
                <a:gd name="T0" fmla="*/ 156 w 160"/>
                <a:gd name="T1" fmla="*/ 83 h 84"/>
                <a:gd name="T2" fmla="*/ 153 w 160"/>
                <a:gd name="T3" fmla="*/ 82 h 84"/>
                <a:gd name="T4" fmla="*/ 80 w 160"/>
                <a:gd name="T5" fmla="*/ 9 h 84"/>
                <a:gd name="T6" fmla="*/ 6 w 160"/>
                <a:gd name="T7" fmla="*/ 82 h 84"/>
                <a:gd name="T8" fmla="*/ 1 w 160"/>
                <a:gd name="T9" fmla="*/ 82 h 84"/>
                <a:gd name="T10" fmla="*/ 1 w 160"/>
                <a:gd name="T11" fmla="*/ 77 h 84"/>
                <a:gd name="T12" fmla="*/ 77 w 160"/>
                <a:gd name="T13" fmla="*/ 1 h 84"/>
                <a:gd name="T14" fmla="*/ 82 w 160"/>
                <a:gd name="T15" fmla="*/ 1 h 84"/>
                <a:gd name="T16" fmla="*/ 158 w 160"/>
                <a:gd name="T17" fmla="*/ 77 h 84"/>
                <a:gd name="T18" fmla="*/ 158 w 160"/>
                <a:gd name="T19" fmla="*/ 82 h 84"/>
                <a:gd name="T20" fmla="*/ 156 w 160"/>
                <a:gd name="T21" fmla="*/ 8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4">
                  <a:moveTo>
                    <a:pt x="156" y="83"/>
                  </a:moveTo>
                  <a:cubicBezTo>
                    <a:pt x="155" y="83"/>
                    <a:pt x="154" y="83"/>
                    <a:pt x="153" y="8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4"/>
                    <a:pt x="3" y="84"/>
                    <a:pt x="1" y="82"/>
                  </a:cubicBezTo>
                  <a:cubicBezTo>
                    <a:pt x="0" y="81"/>
                    <a:pt x="0" y="79"/>
                    <a:pt x="1" y="77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9" y="0"/>
                    <a:pt x="81" y="0"/>
                    <a:pt x="82" y="1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60" y="79"/>
                    <a:pt x="160" y="81"/>
                    <a:pt x="158" y="82"/>
                  </a:cubicBezTo>
                  <a:cubicBezTo>
                    <a:pt x="158" y="83"/>
                    <a:pt x="157" y="83"/>
                    <a:pt x="156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2_20200717_154412">
            <a:extLst>
              <a:ext uri="{FF2B5EF4-FFF2-40B4-BE49-F238E27FC236}">
                <a16:creationId xmlns:a16="http://schemas.microsoft.com/office/drawing/2014/main" id="{4F1226BD-8DB5-8007-73C4-D5444EF3CE80}"/>
              </a:ext>
            </a:extLst>
          </p:cNvPr>
          <p:cNvGrpSpPr/>
          <p:nvPr/>
        </p:nvGrpSpPr>
        <p:grpSpPr>
          <a:xfrm>
            <a:off x="603638" y="1417917"/>
            <a:ext cx="540272" cy="332474"/>
            <a:chOff x="-5835793" y="1170363"/>
            <a:chExt cx="478335" cy="294359"/>
          </a:xfrm>
          <a:solidFill>
            <a:schemeClr val="accent1"/>
          </a:solidFill>
        </p:grpSpPr>
        <p:sp>
          <p:nvSpPr>
            <p:cNvPr id="33" name="Freeform 129">
              <a:extLst>
                <a:ext uri="{FF2B5EF4-FFF2-40B4-BE49-F238E27FC236}">
                  <a16:creationId xmlns:a16="http://schemas.microsoft.com/office/drawing/2014/main" id="{00A640EB-B4B2-1641-532D-FF4D03B65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5793" y="1309051"/>
              <a:ext cx="478335" cy="16982"/>
            </a:xfrm>
            <a:custGeom>
              <a:avLst/>
              <a:gdLst>
                <a:gd name="T0" fmla="*/ 220 w 224"/>
                <a:gd name="T1" fmla="*/ 7 h 7"/>
                <a:gd name="T2" fmla="*/ 3 w 224"/>
                <a:gd name="T3" fmla="*/ 7 h 7"/>
                <a:gd name="T4" fmla="*/ 0 w 224"/>
                <a:gd name="T5" fmla="*/ 4 h 7"/>
                <a:gd name="T6" fmla="*/ 3 w 224"/>
                <a:gd name="T7" fmla="*/ 0 h 7"/>
                <a:gd name="T8" fmla="*/ 220 w 224"/>
                <a:gd name="T9" fmla="*/ 0 h 7"/>
                <a:gd name="T10" fmla="*/ 224 w 224"/>
                <a:gd name="T11" fmla="*/ 4 h 7"/>
                <a:gd name="T12" fmla="*/ 220 w 22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7">
                  <a:moveTo>
                    <a:pt x="22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2" y="0"/>
                    <a:pt x="224" y="2"/>
                    <a:pt x="224" y="4"/>
                  </a:cubicBezTo>
                  <a:cubicBezTo>
                    <a:pt x="224" y="6"/>
                    <a:pt x="222" y="7"/>
                    <a:pt x="22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130">
              <a:extLst>
                <a:ext uri="{FF2B5EF4-FFF2-40B4-BE49-F238E27FC236}">
                  <a16:creationId xmlns:a16="http://schemas.microsoft.com/office/drawing/2014/main" id="{F71288A7-422A-8CB6-980C-278BFBCD6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35793" y="1170363"/>
              <a:ext cx="155672" cy="294359"/>
            </a:xfrm>
            <a:custGeom>
              <a:avLst/>
              <a:gdLst>
                <a:gd name="T0" fmla="*/ 68 w 72"/>
                <a:gd name="T1" fmla="*/ 137 h 137"/>
                <a:gd name="T2" fmla="*/ 66 w 72"/>
                <a:gd name="T3" fmla="*/ 136 h 137"/>
                <a:gd name="T4" fmla="*/ 1 w 72"/>
                <a:gd name="T5" fmla="*/ 71 h 137"/>
                <a:gd name="T6" fmla="*/ 0 w 72"/>
                <a:gd name="T7" fmla="*/ 69 h 137"/>
                <a:gd name="T8" fmla="*/ 1 w 72"/>
                <a:gd name="T9" fmla="*/ 66 h 137"/>
                <a:gd name="T10" fmla="*/ 66 w 72"/>
                <a:gd name="T11" fmla="*/ 1 h 137"/>
                <a:gd name="T12" fmla="*/ 71 w 72"/>
                <a:gd name="T13" fmla="*/ 1 h 137"/>
                <a:gd name="T14" fmla="*/ 71 w 72"/>
                <a:gd name="T15" fmla="*/ 6 h 137"/>
                <a:gd name="T16" fmla="*/ 8 w 72"/>
                <a:gd name="T17" fmla="*/ 69 h 137"/>
                <a:gd name="T18" fmla="*/ 71 w 72"/>
                <a:gd name="T19" fmla="*/ 131 h 137"/>
                <a:gd name="T20" fmla="*/ 71 w 72"/>
                <a:gd name="T21" fmla="*/ 136 h 137"/>
                <a:gd name="T22" fmla="*/ 68 w 72"/>
                <a:gd name="T2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37">
                  <a:moveTo>
                    <a:pt x="68" y="137"/>
                  </a:moveTo>
                  <a:cubicBezTo>
                    <a:pt x="67" y="137"/>
                    <a:pt x="66" y="137"/>
                    <a:pt x="66" y="13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0"/>
                    <a:pt x="0" y="70"/>
                    <a:pt x="0" y="69"/>
                  </a:cubicBezTo>
                  <a:cubicBezTo>
                    <a:pt x="0" y="68"/>
                    <a:pt x="0" y="67"/>
                    <a:pt x="1" y="66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7" y="0"/>
                    <a:pt x="69" y="0"/>
                    <a:pt x="71" y="1"/>
                  </a:cubicBezTo>
                  <a:cubicBezTo>
                    <a:pt x="72" y="2"/>
                    <a:pt x="72" y="5"/>
                    <a:pt x="71" y="6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71" y="131"/>
                    <a:pt x="71" y="131"/>
                    <a:pt x="71" y="131"/>
                  </a:cubicBezTo>
                  <a:cubicBezTo>
                    <a:pt x="72" y="132"/>
                    <a:pt x="72" y="135"/>
                    <a:pt x="71" y="136"/>
                  </a:cubicBezTo>
                  <a:cubicBezTo>
                    <a:pt x="70" y="137"/>
                    <a:pt x="69" y="137"/>
                    <a:pt x="68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3_20200717_154412">
            <a:extLst>
              <a:ext uri="{FF2B5EF4-FFF2-40B4-BE49-F238E27FC236}">
                <a16:creationId xmlns:a16="http://schemas.microsoft.com/office/drawing/2014/main" id="{4CFDC388-359F-7D29-448D-E41BC87D77A0}"/>
              </a:ext>
            </a:extLst>
          </p:cNvPr>
          <p:cNvGrpSpPr/>
          <p:nvPr/>
        </p:nvGrpSpPr>
        <p:grpSpPr>
          <a:xfrm>
            <a:off x="1853248" y="2729928"/>
            <a:ext cx="652164" cy="246160"/>
            <a:chOff x="-1958174" y="2271379"/>
            <a:chExt cx="577399" cy="217940"/>
          </a:xfrm>
          <a:solidFill>
            <a:schemeClr val="accent1"/>
          </a:solidFill>
        </p:grpSpPr>
        <p:sp>
          <p:nvSpPr>
            <p:cNvPr id="36" name="Freeform 131">
              <a:extLst>
                <a:ext uri="{FF2B5EF4-FFF2-40B4-BE49-F238E27FC236}">
                  <a16:creationId xmlns:a16="http://schemas.microsoft.com/office/drawing/2014/main" id="{AE0A1728-CBEF-5B9B-C7FB-1A54AE77C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8174" y="2373272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3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3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1"/>
                    <a:pt x="167" y="3"/>
                  </a:cubicBezTo>
                  <a:cubicBezTo>
                    <a:pt x="167" y="5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Freeform 132">
              <a:extLst>
                <a:ext uri="{FF2B5EF4-FFF2-40B4-BE49-F238E27FC236}">
                  <a16:creationId xmlns:a16="http://schemas.microsoft.com/office/drawing/2014/main" id="{56007C83-D762-65E2-74F8-B8D48C4C0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8174" y="2271379"/>
              <a:ext cx="116046" cy="217940"/>
            </a:xfrm>
            <a:custGeom>
              <a:avLst/>
              <a:gdLst>
                <a:gd name="T0" fmla="*/ 51 w 55"/>
                <a:gd name="T1" fmla="*/ 102 h 102"/>
                <a:gd name="T2" fmla="*/ 49 w 55"/>
                <a:gd name="T3" fmla="*/ 101 h 102"/>
                <a:gd name="T4" fmla="*/ 1 w 55"/>
                <a:gd name="T5" fmla="*/ 54 h 102"/>
                <a:gd name="T6" fmla="*/ 1 w 55"/>
                <a:gd name="T7" fmla="*/ 49 h 102"/>
                <a:gd name="T8" fmla="*/ 49 w 55"/>
                <a:gd name="T9" fmla="*/ 1 h 102"/>
                <a:gd name="T10" fmla="*/ 54 w 55"/>
                <a:gd name="T11" fmla="*/ 1 h 102"/>
                <a:gd name="T12" fmla="*/ 54 w 55"/>
                <a:gd name="T13" fmla="*/ 6 h 102"/>
                <a:gd name="T14" fmla="*/ 9 w 55"/>
                <a:gd name="T15" fmla="*/ 51 h 102"/>
                <a:gd name="T16" fmla="*/ 54 w 55"/>
                <a:gd name="T17" fmla="*/ 96 h 102"/>
                <a:gd name="T18" fmla="*/ 54 w 55"/>
                <a:gd name="T19" fmla="*/ 101 h 102"/>
                <a:gd name="T20" fmla="*/ 51 w 55"/>
                <a:gd name="T21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02">
                  <a:moveTo>
                    <a:pt x="51" y="102"/>
                  </a:moveTo>
                  <a:cubicBezTo>
                    <a:pt x="51" y="102"/>
                    <a:pt x="50" y="102"/>
                    <a:pt x="49" y="101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0" y="52"/>
                    <a:pt x="0" y="50"/>
                    <a:pt x="1" y="49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0" y="0"/>
                    <a:pt x="53" y="0"/>
                    <a:pt x="54" y="1"/>
                  </a:cubicBezTo>
                  <a:cubicBezTo>
                    <a:pt x="55" y="2"/>
                    <a:pt x="55" y="5"/>
                    <a:pt x="54" y="6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5" y="98"/>
                    <a:pt x="55" y="100"/>
                    <a:pt x="54" y="101"/>
                  </a:cubicBezTo>
                  <a:cubicBezTo>
                    <a:pt x="53" y="102"/>
                    <a:pt x="52" y="102"/>
                    <a:pt x="51" y="1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133">
              <a:extLst>
                <a:ext uri="{FF2B5EF4-FFF2-40B4-BE49-F238E27FC236}">
                  <a16:creationId xmlns:a16="http://schemas.microsoft.com/office/drawing/2014/main" id="{623E0F9A-601A-7561-B8ED-0ADB1675F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37404" y="2373272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3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3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1"/>
                    <a:pt x="167" y="3"/>
                  </a:cubicBezTo>
                  <a:cubicBezTo>
                    <a:pt x="167" y="5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134">
              <a:extLst>
                <a:ext uri="{FF2B5EF4-FFF2-40B4-BE49-F238E27FC236}">
                  <a16:creationId xmlns:a16="http://schemas.microsoft.com/office/drawing/2014/main" id="{2517B200-2DD2-ACB6-0AD5-8159CBE8C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02482" y="2271379"/>
              <a:ext cx="121707" cy="217940"/>
            </a:xfrm>
            <a:custGeom>
              <a:avLst/>
              <a:gdLst>
                <a:gd name="T0" fmla="*/ 4 w 56"/>
                <a:gd name="T1" fmla="*/ 102 h 102"/>
                <a:gd name="T2" fmla="*/ 2 w 56"/>
                <a:gd name="T3" fmla="*/ 101 h 102"/>
                <a:gd name="T4" fmla="*/ 2 w 56"/>
                <a:gd name="T5" fmla="*/ 96 h 102"/>
                <a:gd name="T6" fmla="*/ 47 w 56"/>
                <a:gd name="T7" fmla="*/ 51 h 102"/>
                <a:gd name="T8" fmla="*/ 2 w 56"/>
                <a:gd name="T9" fmla="*/ 6 h 102"/>
                <a:gd name="T10" fmla="*/ 2 w 56"/>
                <a:gd name="T11" fmla="*/ 1 h 102"/>
                <a:gd name="T12" fmla="*/ 7 w 56"/>
                <a:gd name="T13" fmla="*/ 1 h 102"/>
                <a:gd name="T14" fmla="*/ 55 w 56"/>
                <a:gd name="T15" fmla="*/ 49 h 102"/>
                <a:gd name="T16" fmla="*/ 55 w 56"/>
                <a:gd name="T17" fmla="*/ 54 h 102"/>
                <a:gd name="T18" fmla="*/ 7 w 56"/>
                <a:gd name="T19" fmla="*/ 101 h 102"/>
                <a:gd name="T20" fmla="*/ 4 w 56"/>
                <a:gd name="T21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102">
                  <a:moveTo>
                    <a:pt x="4" y="102"/>
                  </a:moveTo>
                  <a:cubicBezTo>
                    <a:pt x="3" y="102"/>
                    <a:pt x="3" y="102"/>
                    <a:pt x="2" y="101"/>
                  </a:cubicBezTo>
                  <a:cubicBezTo>
                    <a:pt x="0" y="100"/>
                    <a:pt x="0" y="98"/>
                    <a:pt x="2" y="96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6" y="50"/>
                    <a:pt x="56" y="52"/>
                    <a:pt x="55" y="54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6" y="102"/>
                    <a:pt x="5" y="102"/>
                    <a:pt x="4" y="1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4_20200717_154412">
            <a:extLst>
              <a:ext uri="{FF2B5EF4-FFF2-40B4-BE49-F238E27FC236}">
                <a16:creationId xmlns:a16="http://schemas.microsoft.com/office/drawing/2014/main" id="{FA655117-42B0-3E37-E398-07A04337A9F1}"/>
              </a:ext>
            </a:extLst>
          </p:cNvPr>
          <p:cNvGrpSpPr/>
          <p:nvPr/>
        </p:nvGrpSpPr>
        <p:grpSpPr>
          <a:xfrm>
            <a:off x="3358609" y="2551615"/>
            <a:ext cx="252554" cy="648966"/>
            <a:chOff x="-800548" y="2093066"/>
            <a:chExt cx="223601" cy="574568"/>
          </a:xfrm>
          <a:solidFill>
            <a:schemeClr val="accent1"/>
          </a:solidFill>
        </p:grpSpPr>
        <p:sp>
          <p:nvSpPr>
            <p:cNvPr id="41" name="Freeform 135">
              <a:extLst>
                <a:ext uri="{FF2B5EF4-FFF2-40B4-BE49-F238E27FC236}">
                  <a16:creationId xmlns:a16="http://schemas.microsoft.com/office/drawing/2014/main" id="{38B4C968-D0E6-3CCD-9B31-B0FB199A1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656" y="2093066"/>
              <a:ext cx="16982" cy="356629"/>
            </a:xfrm>
            <a:custGeom>
              <a:avLst/>
              <a:gdLst>
                <a:gd name="T0" fmla="*/ 4 w 8"/>
                <a:gd name="T1" fmla="*/ 167 h 167"/>
                <a:gd name="T2" fmla="*/ 0 w 8"/>
                <a:gd name="T3" fmla="*/ 163 h 167"/>
                <a:gd name="T4" fmla="*/ 0 w 8"/>
                <a:gd name="T5" fmla="*/ 4 h 167"/>
                <a:gd name="T6" fmla="*/ 4 w 8"/>
                <a:gd name="T7" fmla="*/ 0 h 167"/>
                <a:gd name="T8" fmla="*/ 8 w 8"/>
                <a:gd name="T9" fmla="*/ 4 h 167"/>
                <a:gd name="T10" fmla="*/ 8 w 8"/>
                <a:gd name="T11" fmla="*/ 163 h 167"/>
                <a:gd name="T12" fmla="*/ 4 w 8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8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136">
              <a:extLst>
                <a:ext uri="{FF2B5EF4-FFF2-40B4-BE49-F238E27FC236}">
                  <a16:creationId xmlns:a16="http://schemas.microsoft.com/office/drawing/2014/main" id="{448ACC93-8113-CD22-2D7C-4186FFBC1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0548" y="2093066"/>
              <a:ext cx="223601" cy="118876"/>
            </a:xfrm>
            <a:custGeom>
              <a:avLst/>
              <a:gdLst>
                <a:gd name="T0" fmla="*/ 100 w 104"/>
                <a:gd name="T1" fmla="*/ 55 h 56"/>
                <a:gd name="T2" fmla="*/ 97 w 104"/>
                <a:gd name="T3" fmla="*/ 54 h 56"/>
                <a:gd name="T4" fmla="*/ 52 w 104"/>
                <a:gd name="T5" fmla="*/ 9 h 56"/>
                <a:gd name="T6" fmla="*/ 7 w 104"/>
                <a:gd name="T7" fmla="*/ 54 h 56"/>
                <a:gd name="T8" fmla="*/ 2 w 104"/>
                <a:gd name="T9" fmla="*/ 54 h 56"/>
                <a:gd name="T10" fmla="*/ 2 w 104"/>
                <a:gd name="T11" fmla="*/ 49 h 56"/>
                <a:gd name="T12" fmla="*/ 49 w 104"/>
                <a:gd name="T13" fmla="*/ 2 h 56"/>
                <a:gd name="T14" fmla="*/ 55 w 104"/>
                <a:gd name="T15" fmla="*/ 2 h 56"/>
                <a:gd name="T16" fmla="*/ 102 w 104"/>
                <a:gd name="T17" fmla="*/ 49 h 56"/>
                <a:gd name="T18" fmla="*/ 102 w 104"/>
                <a:gd name="T19" fmla="*/ 54 h 56"/>
                <a:gd name="T20" fmla="*/ 100 w 104"/>
                <a:gd name="T21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56">
                  <a:moveTo>
                    <a:pt x="100" y="55"/>
                  </a:moveTo>
                  <a:cubicBezTo>
                    <a:pt x="99" y="55"/>
                    <a:pt x="98" y="55"/>
                    <a:pt x="97" y="54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5" y="56"/>
                    <a:pt x="3" y="56"/>
                    <a:pt x="2" y="54"/>
                  </a:cubicBezTo>
                  <a:cubicBezTo>
                    <a:pt x="0" y="53"/>
                    <a:pt x="0" y="51"/>
                    <a:pt x="2" y="49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1" y="0"/>
                    <a:pt x="53" y="0"/>
                    <a:pt x="55" y="2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4" y="51"/>
                    <a:pt x="104" y="53"/>
                    <a:pt x="102" y="54"/>
                  </a:cubicBezTo>
                  <a:cubicBezTo>
                    <a:pt x="101" y="55"/>
                    <a:pt x="101" y="55"/>
                    <a:pt x="100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Freeform 137">
              <a:extLst>
                <a:ext uri="{FF2B5EF4-FFF2-40B4-BE49-F238E27FC236}">
                  <a16:creationId xmlns:a16="http://schemas.microsoft.com/office/drawing/2014/main" id="{5238F995-6888-229A-67E7-7471BB446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656" y="2311004"/>
              <a:ext cx="16982" cy="356629"/>
            </a:xfrm>
            <a:custGeom>
              <a:avLst/>
              <a:gdLst>
                <a:gd name="T0" fmla="*/ 4 w 8"/>
                <a:gd name="T1" fmla="*/ 167 h 167"/>
                <a:gd name="T2" fmla="*/ 0 w 8"/>
                <a:gd name="T3" fmla="*/ 163 h 167"/>
                <a:gd name="T4" fmla="*/ 0 w 8"/>
                <a:gd name="T5" fmla="*/ 4 h 167"/>
                <a:gd name="T6" fmla="*/ 4 w 8"/>
                <a:gd name="T7" fmla="*/ 0 h 167"/>
                <a:gd name="T8" fmla="*/ 8 w 8"/>
                <a:gd name="T9" fmla="*/ 4 h 167"/>
                <a:gd name="T10" fmla="*/ 8 w 8"/>
                <a:gd name="T11" fmla="*/ 163 h 167"/>
                <a:gd name="T12" fmla="*/ 4 w 8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8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138">
              <a:extLst>
                <a:ext uri="{FF2B5EF4-FFF2-40B4-BE49-F238E27FC236}">
                  <a16:creationId xmlns:a16="http://schemas.microsoft.com/office/drawing/2014/main" id="{DAF9F53F-D7DC-98AA-1533-35AD2E5D1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0548" y="2551588"/>
              <a:ext cx="223601" cy="116046"/>
            </a:xfrm>
            <a:custGeom>
              <a:avLst/>
              <a:gdLst>
                <a:gd name="T0" fmla="*/ 52 w 104"/>
                <a:gd name="T1" fmla="*/ 55 h 55"/>
                <a:gd name="T2" fmla="*/ 49 w 104"/>
                <a:gd name="T3" fmla="*/ 54 h 55"/>
                <a:gd name="T4" fmla="*/ 2 w 104"/>
                <a:gd name="T5" fmla="*/ 6 h 55"/>
                <a:gd name="T6" fmla="*/ 2 w 104"/>
                <a:gd name="T7" fmla="*/ 1 h 55"/>
                <a:gd name="T8" fmla="*/ 7 w 104"/>
                <a:gd name="T9" fmla="*/ 1 h 55"/>
                <a:gd name="T10" fmla="*/ 52 w 104"/>
                <a:gd name="T11" fmla="*/ 46 h 55"/>
                <a:gd name="T12" fmla="*/ 97 w 104"/>
                <a:gd name="T13" fmla="*/ 1 h 55"/>
                <a:gd name="T14" fmla="*/ 102 w 104"/>
                <a:gd name="T15" fmla="*/ 1 h 55"/>
                <a:gd name="T16" fmla="*/ 102 w 104"/>
                <a:gd name="T17" fmla="*/ 6 h 55"/>
                <a:gd name="T18" fmla="*/ 55 w 104"/>
                <a:gd name="T19" fmla="*/ 54 h 55"/>
                <a:gd name="T20" fmla="*/ 52 w 104"/>
                <a:gd name="T2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55">
                  <a:moveTo>
                    <a:pt x="52" y="55"/>
                  </a:moveTo>
                  <a:cubicBezTo>
                    <a:pt x="51" y="55"/>
                    <a:pt x="50" y="55"/>
                    <a:pt x="49" y="5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8" y="0"/>
                    <a:pt x="101" y="0"/>
                    <a:pt x="102" y="1"/>
                  </a:cubicBezTo>
                  <a:cubicBezTo>
                    <a:pt x="104" y="2"/>
                    <a:pt x="104" y="5"/>
                    <a:pt x="102" y="6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4" y="55"/>
                    <a:pt x="53" y="55"/>
                    <a:pt x="5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5_20200717_154412">
            <a:extLst>
              <a:ext uri="{FF2B5EF4-FFF2-40B4-BE49-F238E27FC236}">
                <a16:creationId xmlns:a16="http://schemas.microsoft.com/office/drawing/2014/main" id="{C2B16083-BB6A-E07F-FEE7-50EC731FFE97}"/>
              </a:ext>
            </a:extLst>
          </p:cNvPr>
          <p:cNvGrpSpPr/>
          <p:nvPr/>
        </p:nvGrpSpPr>
        <p:grpSpPr>
          <a:xfrm>
            <a:off x="4464362" y="2534919"/>
            <a:ext cx="652161" cy="652164"/>
            <a:chOff x="-5883906" y="3154457"/>
            <a:chExt cx="577397" cy="577400"/>
          </a:xfrm>
          <a:solidFill>
            <a:schemeClr val="accent1"/>
          </a:solidFill>
        </p:grpSpPr>
        <p:sp>
          <p:nvSpPr>
            <p:cNvPr id="46" name="Freeform 139">
              <a:extLst>
                <a:ext uri="{FF2B5EF4-FFF2-40B4-BE49-F238E27FC236}">
                  <a16:creationId xmlns:a16="http://schemas.microsoft.com/office/drawing/2014/main" id="{46C8E431-122A-8901-F580-53246DD74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63139" y="3434665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4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4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2"/>
                    <a:pt x="167" y="4"/>
                  </a:cubicBezTo>
                  <a:cubicBezTo>
                    <a:pt x="167" y="6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140">
              <a:extLst>
                <a:ext uri="{FF2B5EF4-FFF2-40B4-BE49-F238E27FC236}">
                  <a16:creationId xmlns:a16="http://schemas.microsoft.com/office/drawing/2014/main" id="{3406FFB3-E25B-5D83-63B0-E6BF5BAC7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28216" y="3332771"/>
              <a:ext cx="121707" cy="220769"/>
            </a:xfrm>
            <a:custGeom>
              <a:avLst/>
              <a:gdLst>
                <a:gd name="T0" fmla="*/ 4 w 56"/>
                <a:gd name="T1" fmla="*/ 103 h 103"/>
                <a:gd name="T2" fmla="*/ 2 w 56"/>
                <a:gd name="T3" fmla="*/ 102 h 103"/>
                <a:gd name="T4" fmla="*/ 2 w 56"/>
                <a:gd name="T5" fmla="*/ 97 h 103"/>
                <a:gd name="T6" fmla="*/ 47 w 56"/>
                <a:gd name="T7" fmla="*/ 52 h 103"/>
                <a:gd name="T8" fmla="*/ 2 w 56"/>
                <a:gd name="T9" fmla="*/ 7 h 103"/>
                <a:gd name="T10" fmla="*/ 2 w 56"/>
                <a:gd name="T11" fmla="*/ 2 h 103"/>
                <a:gd name="T12" fmla="*/ 7 w 56"/>
                <a:gd name="T13" fmla="*/ 2 h 103"/>
                <a:gd name="T14" fmla="*/ 54 w 56"/>
                <a:gd name="T15" fmla="*/ 49 h 103"/>
                <a:gd name="T16" fmla="*/ 54 w 56"/>
                <a:gd name="T17" fmla="*/ 54 h 103"/>
                <a:gd name="T18" fmla="*/ 7 w 56"/>
                <a:gd name="T19" fmla="*/ 102 h 103"/>
                <a:gd name="T20" fmla="*/ 4 w 5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103">
                  <a:moveTo>
                    <a:pt x="4" y="103"/>
                  </a:moveTo>
                  <a:cubicBezTo>
                    <a:pt x="3" y="103"/>
                    <a:pt x="2" y="103"/>
                    <a:pt x="2" y="102"/>
                  </a:cubicBezTo>
                  <a:cubicBezTo>
                    <a:pt x="0" y="101"/>
                    <a:pt x="0" y="98"/>
                    <a:pt x="2" y="97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6" y="51"/>
                    <a:pt x="56" y="53"/>
                    <a:pt x="54" y="54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6" y="103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141">
              <a:extLst>
                <a:ext uri="{FF2B5EF4-FFF2-40B4-BE49-F238E27FC236}">
                  <a16:creationId xmlns:a16="http://schemas.microsoft.com/office/drawing/2014/main" id="{B815B3DF-BC6B-436A-60F0-3D0EAB557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3906" y="3434665"/>
              <a:ext cx="356628" cy="14153"/>
            </a:xfrm>
            <a:custGeom>
              <a:avLst/>
              <a:gdLst>
                <a:gd name="T0" fmla="*/ 163 w 167"/>
                <a:gd name="T1" fmla="*/ 7 h 7"/>
                <a:gd name="T2" fmla="*/ 4 w 167"/>
                <a:gd name="T3" fmla="*/ 7 h 7"/>
                <a:gd name="T4" fmla="*/ 0 w 167"/>
                <a:gd name="T5" fmla="*/ 4 h 7"/>
                <a:gd name="T6" fmla="*/ 4 w 167"/>
                <a:gd name="T7" fmla="*/ 0 h 7"/>
                <a:gd name="T8" fmla="*/ 163 w 167"/>
                <a:gd name="T9" fmla="*/ 0 h 7"/>
                <a:gd name="T10" fmla="*/ 167 w 167"/>
                <a:gd name="T11" fmla="*/ 4 h 7"/>
                <a:gd name="T12" fmla="*/ 163 w 16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">
                  <a:moveTo>
                    <a:pt x="16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5" y="0"/>
                    <a:pt x="167" y="2"/>
                    <a:pt x="167" y="4"/>
                  </a:cubicBezTo>
                  <a:cubicBezTo>
                    <a:pt x="167" y="6"/>
                    <a:pt x="165" y="7"/>
                    <a:pt x="1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Freeform 142">
              <a:extLst>
                <a:ext uri="{FF2B5EF4-FFF2-40B4-BE49-F238E27FC236}">
                  <a16:creationId xmlns:a16="http://schemas.microsoft.com/office/drawing/2014/main" id="{ED7804F0-5C62-B1AD-C70C-D4CAA10E3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3906" y="3332771"/>
              <a:ext cx="118876" cy="220769"/>
            </a:xfrm>
            <a:custGeom>
              <a:avLst/>
              <a:gdLst>
                <a:gd name="T0" fmla="*/ 51 w 55"/>
                <a:gd name="T1" fmla="*/ 103 h 103"/>
                <a:gd name="T2" fmla="*/ 49 w 55"/>
                <a:gd name="T3" fmla="*/ 102 h 103"/>
                <a:gd name="T4" fmla="*/ 1 w 55"/>
                <a:gd name="T5" fmla="*/ 54 h 103"/>
                <a:gd name="T6" fmla="*/ 1 w 55"/>
                <a:gd name="T7" fmla="*/ 49 h 103"/>
                <a:gd name="T8" fmla="*/ 49 w 55"/>
                <a:gd name="T9" fmla="*/ 2 h 103"/>
                <a:gd name="T10" fmla="*/ 54 w 55"/>
                <a:gd name="T11" fmla="*/ 2 h 103"/>
                <a:gd name="T12" fmla="*/ 54 w 55"/>
                <a:gd name="T13" fmla="*/ 7 h 103"/>
                <a:gd name="T14" fmla="*/ 9 w 55"/>
                <a:gd name="T15" fmla="*/ 52 h 103"/>
                <a:gd name="T16" fmla="*/ 54 w 55"/>
                <a:gd name="T17" fmla="*/ 97 h 103"/>
                <a:gd name="T18" fmla="*/ 54 w 55"/>
                <a:gd name="T19" fmla="*/ 102 h 103"/>
                <a:gd name="T20" fmla="*/ 51 w 55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03">
                  <a:moveTo>
                    <a:pt x="51" y="103"/>
                  </a:moveTo>
                  <a:cubicBezTo>
                    <a:pt x="50" y="103"/>
                    <a:pt x="50" y="103"/>
                    <a:pt x="49" y="102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0" y="53"/>
                    <a:pt x="0" y="51"/>
                    <a:pt x="1" y="49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0"/>
                    <a:pt x="52" y="0"/>
                    <a:pt x="54" y="2"/>
                  </a:cubicBezTo>
                  <a:cubicBezTo>
                    <a:pt x="55" y="3"/>
                    <a:pt x="55" y="5"/>
                    <a:pt x="54" y="7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5" y="98"/>
                    <a:pt x="55" y="101"/>
                    <a:pt x="54" y="102"/>
                  </a:cubicBezTo>
                  <a:cubicBezTo>
                    <a:pt x="53" y="103"/>
                    <a:pt x="52" y="103"/>
                    <a:pt x="51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143">
              <a:extLst>
                <a:ext uri="{FF2B5EF4-FFF2-40B4-BE49-F238E27FC236}">
                  <a16:creationId xmlns:a16="http://schemas.microsoft.com/office/drawing/2014/main" id="{5605829E-7A5C-0D64-E3F4-D8CE64A93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3701" y="3375228"/>
              <a:ext cx="14153" cy="356629"/>
            </a:xfrm>
            <a:custGeom>
              <a:avLst/>
              <a:gdLst>
                <a:gd name="T0" fmla="*/ 4 w 7"/>
                <a:gd name="T1" fmla="*/ 167 h 167"/>
                <a:gd name="T2" fmla="*/ 0 w 7"/>
                <a:gd name="T3" fmla="*/ 163 h 167"/>
                <a:gd name="T4" fmla="*/ 0 w 7"/>
                <a:gd name="T5" fmla="*/ 4 h 167"/>
                <a:gd name="T6" fmla="*/ 4 w 7"/>
                <a:gd name="T7" fmla="*/ 0 h 167"/>
                <a:gd name="T8" fmla="*/ 7 w 7"/>
                <a:gd name="T9" fmla="*/ 4 h 167"/>
                <a:gd name="T10" fmla="*/ 7 w 7"/>
                <a:gd name="T11" fmla="*/ 163 h 167"/>
                <a:gd name="T12" fmla="*/ 4 w 7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3"/>
                    <a:pt x="7" y="163"/>
                    <a:pt x="7" y="163"/>
                  </a:cubicBezTo>
                  <a:cubicBezTo>
                    <a:pt x="7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Freeform 144">
              <a:extLst>
                <a:ext uri="{FF2B5EF4-FFF2-40B4-BE49-F238E27FC236}">
                  <a16:creationId xmlns:a16="http://schemas.microsoft.com/office/drawing/2014/main" id="{F3CCDCDA-52F8-B931-1BA7-D3F2BCB8F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5593" y="3612977"/>
              <a:ext cx="217940" cy="116046"/>
            </a:xfrm>
            <a:custGeom>
              <a:avLst/>
              <a:gdLst>
                <a:gd name="T0" fmla="*/ 52 w 103"/>
                <a:gd name="T1" fmla="*/ 55 h 55"/>
                <a:gd name="T2" fmla="*/ 49 w 103"/>
                <a:gd name="T3" fmla="*/ 54 h 55"/>
                <a:gd name="T4" fmla="*/ 2 w 103"/>
                <a:gd name="T5" fmla="*/ 7 h 55"/>
                <a:gd name="T6" fmla="*/ 2 w 103"/>
                <a:gd name="T7" fmla="*/ 2 h 55"/>
                <a:gd name="T8" fmla="*/ 7 w 103"/>
                <a:gd name="T9" fmla="*/ 2 h 55"/>
                <a:gd name="T10" fmla="*/ 52 w 103"/>
                <a:gd name="T11" fmla="*/ 47 h 55"/>
                <a:gd name="T12" fmla="*/ 97 w 103"/>
                <a:gd name="T13" fmla="*/ 2 h 55"/>
                <a:gd name="T14" fmla="*/ 102 w 103"/>
                <a:gd name="T15" fmla="*/ 2 h 55"/>
                <a:gd name="T16" fmla="*/ 102 w 103"/>
                <a:gd name="T17" fmla="*/ 7 h 55"/>
                <a:gd name="T18" fmla="*/ 54 w 103"/>
                <a:gd name="T19" fmla="*/ 54 h 55"/>
                <a:gd name="T20" fmla="*/ 52 w 103"/>
                <a:gd name="T2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55">
                  <a:moveTo>
                    <a:pt x="52" y="55"/>
                  </a:moveTo>
                  <a:cubicBezTo>
                    <a:pt x="51" y="55"/>
                    <a:pt x="50" y="55"/>
                    <a:pt x="49" y="54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0"/>
                    <a:pt x="101" y="0"/>
                    <a:pt x="102" y="2"/>
                  </a:cubicBezTo>
                  <a:cubicBezTo>
                    <a:pt x="103" y="3"/>
                    <a:pt x="103" y="5"/>
                    <a:pt x="102" y="7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5"/>
                    <a:pt x="53" y="55"/>
                    <a:pt x="5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Freeform 145">
              <a:extLst>
                <a:ext uri="{FF2B5EF4-FFF2-40B4-BE49-F238E27FC236}">
                  <a16:creationId xmlns:a16="http://schemas.microsoft.com/office/drawing/2014/main" id="{CB033FFF-0FD0-9B2C-39C2-C8BFB3F40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3701" y="3154457"/>
              <a:ext cx="14153" cy="356629"/>
            </a:xfrm>
            <a:custGeom>
              <a:avLst/>
              <a:gdLst>
                <a:gd name="T0" fmla="*/ 4 w 7"/>
                <a:gd name="T1" fmla="*/ 167 h 167"/>
                <a:gd name="T2" fmla="*/ 0 w 7"/>
                <a:gd name="T3" fmla="*/ 163 h 167"/>
                <a:gd name="T4" fmla="*/ 0 w 7"/>
                <a:gd name="T5" fmla="*/ 4 h 167"/>
                <a:gd name="T6" fmla="*/ 4 w 7"/>
                <a:gd name="T7" fmla="*/ 0 h 167"/>
                <a:gd name="T8" fmla="*/ 7 w 7"/>
                <a:gd name="T9" fmla="*/ 4 h 167"/>
                <a:gd name="T10" fmla="*/ 7 w 7"/>
                <a:gd name="T11" fmla="*/ 163 h 167"/>
                <a:gd name="T12" fmla="*/ 4 w 7"/>
                <a:gd name="T1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7">
                  <a:moveTo>
                    <a:pt x="4" y="167"/>
                  </a:moveTo>
                  <a:cubicBezTo>
                    <a:pt x="2" y="167"/>
                    <a:pt x="0" y="165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3"/>
                    <a:pt x="7" y="163"/>
                    <a:pt x="7" y="163"/>
                  </a:cubicBezTo>
                  <a:cubicBezTo>
                    <a:pt x="7" y="165"/>
                    <a:pt x="6" y="167"/>
                    <a:pt x="4" y="1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Freeform 146">
              <a:extLst>
                <a:ext uri="{FF2B5EF4-FFF2-40B4-BE49-F238E27FC236}">
                  <a16:creationId xmlns:a16="http://schemas.microsoft.com/office/drawing/2014/main" id="{E7D1CA1C-3298-2D54-E0C4-02D3503AD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5593" y="3154457"/>
              <a:ext cx="217940" cy="118876"/>
            </a:xfrm>
            <a:custGeom>
              <a:avLst/>
              <a:gdLst>
                <a:gd name="T0" fmla="*/ 4 w 103"/>
                <a:gd name="T1" fmla="*/ 55 h 55"/>
                <a:gd name="T2" fmla="*/ 2 w 103"/>
                <a:gd name="T3" fmla="*/ 54 h 55"/>
                <a:gd name="T4" fmla="*/ 2 w 103"/>
                <a:gd name="T5" fmla="*/ 49 h 55"/>
                <a:gd name="T6" fmla="*/ 49 w 103"/>
                <a:gd name="T7" fmla="*/ 1 h 55"/>
                <a:gd name="T8" fmla="*/ 54 w 103"/>
                <a:gd name="T9" fmla="*/ 1 h 55"/>
                <a:gd name="T10" fmla="*/ 102 w 103"/>
                <a:gd name="T11" fmla="*/ 49 h 55"/>
                <a:gd name="T12" fmla="*/ 102 w 103"/>
                <a:gd name="T13" fmla="*/ 54 h 55"/>
                <a:gd name="T14" fmla="*/ 97 w 103"/>
                <a:gd name="T15" fmla="*/ 54 h 55"/>
                <a:gd name="T16" fmla="*/ 52 w 103"/>
                <a:gd name="T17" fmla="*/ 9 h 55"/>
                <a:gd name="T18" fmla="*/ 7 w 103"/>
                <a:gd name="T19" fmla="*/ 54 h 55"/>
                <a:gd name="T20" fmla="*/ 4 w 103"/>
                <a:gd name="T2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55">
                  <a:moveTo>
                    <a:pt x="4" y="55"/>
                  </a:moveTo>
                  <a:cubicBezTo>
                    <a:pt x="3" y="55"/>
                    <a:pt x="2" y="55"/>
                    <a:pt x="2" y="54"/>
                  </a:cubicBezTo>
                  <a:cubicBezTo>
                    <a:pt x="0" y="52"/>
                    <a:pt x="0" y="50"/>
                    <a:pt x="2" y="49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1" y="0"/>
                    <a:pt x="53" y="0"/>
                    <a:pt x="54" y="1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3" y="50"/>
                    <a:pt x="103" y="52"/>
                    <a:pt x="102" y="54"/>
                  </a:cubicBezTo>
                  <a:cubicBezTo>
                    <a:pt x="101" y="55"/>
                    <a:pt x="98" y="55"/>
                    <a:pt x="97" y="54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6" y="55"/>
                    <a:pt x="5" y="55"/>
                    <a:pt x="4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6_20200717_154412">
            <a:extLst>
              <a:ext uri="{FF2B5EF4-FFF2-40B4-BE49-F238E27FC236}">
                <a16:creationId xmlns:a16="http://schemas.microsoft.com/office/drawing/2014/main" id="{247AC866-8E3E-2C9A-A247-45E24544DDC8}"/>
              </a:ext>
            </a:extLst>
          </p:cNvPr>
          <p:cNvGrpSpPr/>
          <p:nvPr/>
        </p:nvGrpSpPr>
        <p:grpSpPr>
          <a:xfrm>
            <a:off x="5862627" y="2617001"/>
            <a:ext cx="466743" cy="466744"/>
            <a:chOff x="-4819685" y="3236539"/>
            <a:chExt cx="413235" cy="413236"/>
          </a:xfrm>
          <a:solidFill>
            <a:schemeClr val="accent1"/>
          </a:solidFill>
        </p:grpSpPr>
        <p:sp>
          <p:nvSpPr>
            <p:cNvPr id="55" name="Freeform 147">
              <a:extLst>
                <a:ext uri="{FF2B5EF4-FFF2-40B4-BE49-F238E27FC236}">
                  <a16:creationId xmlns:a16="http://schemas.microsoft.com/office/drawing/2014/main" id="{0BC63A10-C4A5-2427-7929-A38606E8B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4015" y="3392208"/>
              <a:ext cx="257565" cy="257565"/>
            </a:xfrm>
            <a:custGeom>
              <a:avLst/>
              <a:gdLst>
                <a:gd name="T0" fmla="*/ 117 w 121"/>
                <a:gd name="T1" fmla="*/ 120 h 120"/>
                <a:gd name="T2" fmla="*/ 114 w 121"/>
                <a:gd name="T3" fmla="*/ 119 h 120"/>
                <a:gd name="T4" fmla="*/ 1 w 121"/>
                <a:gd name="T5" fmla="*/ 6 h 120"/>
                <a:gd name="T6" fmla="*/ 1 w 121"/>
                <a:gd name="T7" fmla="*/ 1 h 120"/>
                <a:gd name="T8" fmla="*/ 6 w 121"/>
                <a:gd name="T9" fmla="*/ 1 h 120"/>
                <a:gd name="T10" fmla="*/ 119 w 121"/>
                <a:gd name="T11" fmla="*/ 114 h 120"/>
                <a:gd name="T12" fmla="*/ 119 w 121"/>
                <a:gd name="T13" fmla="*/ 119 h 120"/>
                <a:gd name="T14" fmla="*/ 117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117" y="120"/>
                  </a:moveTo>
                  <a:cubicBezTo>
                    <a:pt x="116" y="120"/>
                    <a:pt x="115" y="120"/>
                    <a:pt x="114" y="11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21" y="115"/>
                    <a:pt x="121" y="118"/>
                    <a:pt x="119" y="119"/>
                  </a:cubicBezTo>
                  <a:cubicBezTo>
                    <a:pt x="118" y="120"/>
                    <a:pt x="118" y="120"/>
                    <a:pt x="117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148">
              <a:extLst>
                <a:ext uri="{FF2B5EF4-FFF2-40B4-BE49-F238E27FC236}">
                  <a16:creationId xmlns:a16="http://schemas.microsoft.com/office/drawing/2014/main" id="{85CC8D97-77F3-9E5F-C385-C2464F85D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7782" y="3488443"/>
              <a:ext cx="158501" cy="161332"/>
            </a:xfrm>
            <a:custGeom>
              <a:avLst/>
              <a:gdLst>
                <a:gd name="T0" fmla="*/ 71 w 74"/>
                <a:gd name="T1" fmla="*/ 75 h 75"/>
                <a:gd name="T2" fmla="*/ 3 w 74"/>
                <a:gd name="T3" fmla="*/ 75 h 75"/>
                <a:gd name="T4" fmla="*/ 0 w 74"/>
                <a:gd name="T5" fmla="*/ 71 h 75"/>
                <a:gd name="T6" fmla="*/ 3 w 74"/>
                <a:gd name="T7" fmla="*/ 68 h 75"/>
                <a:gd name="T8" fmla="*/ 67 w 74"/>
                <a:gd name="T9" fmla="*/ 68 h 75"/>
                <a:gd name="T10" fmla="*/ 67 w 74"/>
                <a:gd name="T11" fmla="*/ 4 h 75"/>
                <a:gd name="T12" fmla="*/ 71 w 74"/>
                <a:gd name="T13" fmla="*/ 0 h 75"/>
                <a:gd name="T14" fmla="*/ 74 w 74"/>
                <a:gd name="T15" fmla="*/ 4 h 75"/>
                <a:gd name="T16" fmla="*/ 74 w 74"/>
                <a:gd name="T17" fmla="*/ 71 h 75"/>
                <a:gd name="T18" fmla="*/ 71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71" y="75"/>
                  </a:moveTo>
                  <a:cubicBezTo>
                    <a:pt x="3" y="75"/>
                    <a:pt x="3" y="75"/>
                    <a:pt x="3" y="75"/>
                  </a:cubicBezTo>
                  <a:cubicBezTo>
                    <a:pt x="1" y="75"/>
                    <a:pt x="0" y="73"/>
                    <a:pt x="0" y="71"/>
                  </a:cubicBezTo>
                  <a:cubicBezTo>
                    <a:pt x="0" y="69"/>
                    <a:pt x="1" y="68"/>
                    <a:pt x="3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2"/>
                    <a:pt x="69" y="0"/>
                    <a:pt x="71" y="0"/>
                  </a:cubicBezTo>
                  <a:cubicBezTo>
                    <a:pt x="73" y="0"/>
                    <a:pt x="74" y="2"/>
                    <a:pt x="74" y="4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73"/>
                    <a:pt x="73" y="75"/>
                    <a:pt x="71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149">
              <a:extLst>
                <a:ext uri="{FF2B5EF4-FFF2-40B4-BE49-F238E27FC236}">
                  <a16:creationId xmlns:a16="http://schemas.microsoft.com/office/drawing/2014/main" id="{8B6B87DB-E745-7819-5EA8-18E651A14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236539"/>
              <a:ext cx="257565" cy="254734"/>
            </a:xfrm>
            <a:custGeom>
              <a:avLst/>
              <a:gdLst>
                <a:gd name="T0" fmla="*/ 117 w 121"/>
                <a:gd name="T1" fmla="*/ 120 h 120"/>
                <a:gd name="T2" fmla="*/ 114 w 121"/>
                <a:gd name="T3" fmla="*/ 119 h 120"/>
                <a:gd name="T4" fmla="*/ 2 w 121"/>
                <a:gd name="T5" fmla="*/ 7 h 120"/>
                <a:gd name="T6" fmla="*/ 2 w 121"/>
                <a:gd name="T7" fmla="*/ 1 h 120"/>
                <a:gd name="T8" fmla="*/ 7 w 121"/>
                <a:gd name="T9" fmla="*/ 1 h 120"/>
                <a:gd name="T10" fmla="*/ 119 w 121"/>
                <a:gd name="T11" fmla="*/ 114 h 120"/>
                <a:gd name="T12" fmla="*/ 119 w 121"/>
                <a:gd name="T13" fmla="*/ 119 h 120"/>
                <a:gd name="T14" fmla="*/ 117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117" y="120"/>
                  </a:moveTo>
                  <a:cubicBezTo>
                    <a:pt x="116" y="120"/>
                    <a:pt x="115" y="120"/>
                    <a:pt x="114" y="119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21" y="116"/>
                    <a:pt x="121" y="118"/>
                    <a:pt x="119" y="119"/>
                  </a:cubicBezTo>
                  <a:cubicBezTo>
                    <a:pt x="119" y="120"/>
                    <a:pt x="118" y="120"/>
                    <a:pt x="117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150">
              <a:extLst>
                <a:ext uri="{FF2B5EF4-FFF2-40B4-BE49-F238E27FC236}">
                  <a16:creationId xmlns:a16="http://schemas.microsoft.com/office/drawing/2014/main" id="{7B0BD95C-267B-4090-5211-14EDA4F27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236539"/>
              <a:ext cx="158501" cy="161332"/>
            </a:xfrm>
            <a:custGeom>
              <a:avLst/>
              <a:gdLst>
                <a:gd name="T0" fmla="*/ 3 w 74"/>
                <a:gd name="T1" fmla="*/ 75 h 75"/>
                <a:gd name="T2" fmla="*/ 0 w 74"/>
                <a:gd name="T3" fmla="*/ 71 h 75"/>
                <a:gd name="T4" fmla="*/ 0 w 74"/>
                <a:gd name="T5" fmla="*/ 4 h 75"/>
                <a:gd name="T6" fmla="*/ 3 w 74"/>
                <a:gd name="T7" fmla="*/ 0 h 75"/>
                <a:gd name="T8" fmla="*/ 71 w 74"/>
                <a:gd name="T9" fmla="*/ 0 h 75"/>
                <a:gd name="T10" fmla="*/ 74 w 74"/>
                <a:gd name="T11" fmla="*/ 4 h 75"/>
                <a:gd name="T12" fmla="*/ 71 w 74"/>
                <a:gd name="T13" fmla="*/ 8 h 75"/>
                <a:gd name="T14" fmla="*/ 7 w 74"/>
                <a:gd name="T15" fmla="*/ 8 h 75"/>
                <a:gd name="T16" fmla="*/ 7 w 74"/>
                <a:gd name="T17" fmla="*/ 71 h 75"/>
                <a:gd name="T18" fmla="*/ 3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3" y="75"/>
                  </a:moveTo>
                  <a:cubicBezTo>
                    <a:pt x="1" y="75"/>
                    <a:pt x="0" y="73"/>
                    <a:pt x="0" y="7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4" y="2"/>
                    <a:pt x="74" y="4"/>
                  </a:cubicBezTo>
                  <a:cubicBezTo>
                    <a:pt x="74" y="6"/>
                    <a:pt x="72" y="8"/>
                    <a:pt x="71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3"/>
                    <a:pt x="5" y="75"/>
                    <a:pt x="3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151">
              <a:extLst>
                <a:ext uri="{FF2B5EF4-FFF2-40B4-BE49-F238E27FC236}">
                  <a16:creationId xmlns:a16="http://schemas.microsoft.com/office/drawing/2014/main" id="{91231B46-B206-CEAE-13FE-85BC05592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392208"/>
              <a:ext cx="257565" cy="257565"/>
            </a:xfrm>
            <a:custGeom>
              <a:avLst/>
              <a:gdLst>
                <a:gd name="T0" fmla="*/ 4 w 121"/>
                <a:gd name="T1" fmla="*/ 120 h 120"/>
                <a:gd name="T2" fmla="*/ 2 w 121"/>
                <a:gd name="T3" fmla="*/ 119 h 120"/>
                <a:gd name="T4" fmla="*/ 2 w 121"/>
                <a:gd name="T5" fmla="*/ 114 h 120"/>
                <a:gd name="T6" fmla="*/ 114 w 121"/>
                <a:gd name="T7" fmla="*/ 1 h 120"/>
                <a:gd name="T8" fmla="*/ 119 w 121"/>
                <a:gd name="T9" fmla="*/ 1 h 120"/>
                <a:gd name="T10" fmla="*/ 119 w 121"/>
                <a:gd name="T11" fmla="*/ 6 h 120"/>
                <a:gd name="T12" fmla="*/ 7 w 121"/>
                <a:gd name="T13" fmla="*/ 119 h 120"/>
                <a:gd name="T14" fmla="*/ 4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4" y="120"/>
                  </a:moveTo>
                  <a:cubicBezTo>
                    <a:pt x="3" y="120"/>
                    <a:pt x="2" y="120"/>
                    <a:pt x="2" y="119"/>
                  </a:cubicBezTo>
                  <a:cubicBezTo>
                    <a:pt x="0" y="118"/>
                    <a:pt x="0" y="115"/>
                    <a:pt x="2" y="114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6" y="0"/>
                    <a:pt x="118" y="0"/>
                    <a:pt x="119" y="1"/>
                  </a:cubicBezTo>
                  <a:cubicBezTo>
                    <a:pt x="121" y="3"/>
                    <a:pt x="121" y="5"/>
                    <a:pt x="119" y="6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20"/>
                    <a:pt x="5" y="120"/>
                    <a:pt x="4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152">
              <a:extLst>
                <a:ext uri="{FF2B5EF4-FFF2-40B4-BE49-F238E27FC236}">
                  <a16:creationId xmlns:a16="http://schemas.microsoft.com/office/drawing/2014/main" id="{DEEACD6A-44DF-C589-8D35-7494EB604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19685" y="3488443"/>
              <a:ext cx="158501" cy="161332"/>
            </a:xfrm>
            <a:custGeom>
              <a:avLst/>
              <a:gdLst>
                <a:gd name="T0" fmla="*/ 71 w 74"/>
                <a:gd name="T1" fmla="*/ 75 h 75"/>
                <a:gd name="T2" fmla="*/ 3 w 74"/>
                <a:gd name="T3" fmla="*/ 75 h 75"/>
                <a:gd name="T4" fmla="*/ 0 w 74"/>
                <a:gd name="T5" fmla="*/ 71 h 75"/>
                <a:gd name="T6" fmla="*/ 0 w 74"/>
                <a:gd name="T7" fmla="*/ 4 h 75"/>
                <a:gd name="T8" fmla="*/ 3 w 74"/>
                <a:gd name="T9" fmla="*/ 0 h 75"/>
                <a:gd name="T10" fmla="*/ 7 w 74"/>
                <a:gd name="T11" fmla="*/ 4 h 75"/>
                <a:gd name="T12" fmla="*/ 7 w 74"/>
                <a:gd name="T13" fmla="*/ 68 h 75"/>
                <a:gd name="T14" fmla="*/ 71 w 74"/>
                <a:gd name="T15" fmla="*/ 68 h 75"/>
                <a:gd name="T16" fmla="*/ 74 w 74"/>
                <a:gd name="T17" fmla="*/ 71 h 75"/>
                <a:gd name="T18" fmla="*/ 71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71" y="75"/>
                  </a:moveTo>
                  <a:cubicBezTo>
                    <a:pt x="3" y="75"/>
                    <a:pt x="3" y="75"/>
                    <a:pt x="3" y="75"/>
                  </a:cubicBezTo>
                  <a:cubicBezTo>
                    <a:pt x="1" y="75"/>
                    <a:pt x="0" y="73"/>
                    <a:pt x="0" y="7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2" y="68"/>
                    <a:pt x="74" y="69"/>
                    <a:pt x="74" y="71"/>
                  </a:cubicBezTo>
                  <a:cubicBezTo>
                    <a:pt x="74" y="73"/>
                    <a:pt x="72" y="75"/>
                    <a:pt x="71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153">
              <a:extLst>
                <a:ext uri="{FF2B5EF4-FFF2-40B4-BE49-F238E27FC236}">
                  <a16:creationId xmlns:a16="http://schemas.microsoft.com/office/drawing/2014/main" id="{BB30E249-6924-069D-60EE-766BF2B6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64015" y="3236539"/>
              <a:ext cx="257565" cy="254734"/>
            </a:xfrm>
            <a:custGeom>
              <a:avLst/>
              <a:gdLst>
                <a:gd name="T0" fmla="*/ 4 w 121"/>
                <a:gd name="T1" fmla="*/ 120 h 120"/>
                <a:gd name="T2" fmla="*/ 1 w 121"/>
                <a:gd name="T3" fmla="*/ 119 h 120"/>
                <a:gd name="T4" fmla="*/ 1 w 121"/>
                <a:gd name="T5" fmla="*/ 114 h 120"/>
                <a:gd name="T6" fmla="*/ 114 w 121"/>
                <a:gd name="T7" fmla="*/ 1 h 120"/>
                <a:gd name="T8" fmla="*/ 119 w 121"/>
                <a:gd name="T9" fmla="*/ 1 h 120"/>
                <a:gd name="T10" fmla="*/ 119 w 121"/>
                <a:gd name="T11" fmla="*/ 7 h 120"/>
                <a:gd name="T12" fmla="*/ 6 w 121"/>
                <a:gd name="T13" fmla="*/ 119 h 120"/>
                <a:gd name="T14" fmla="*/ 4 w 12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0">
                  <a:moveTo>
                    <a:pt x="4" y="120"/>
                  </a:moveTo>
                  <a:cubicBezTo>
                    <a:pt x="3" y="120"/>
                    <a:pt x="2" y="120"/>
                    <a:pt x="1" y="119"/>
                  </a:cubicBezTo>
                  <a:cubicBezTo>
                    <a:pt x="0" y="118"/>
                    <a:pt x="0" y="116"/>
                    <a:pt x="1" y="114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5" y="0"/>
                    <a:pt x="118" y="0"/>
                    <a:pt x="119" y="1"/>
                  </a:cubicBezTo>
                  <a:cubicBezTo>
                    <a:pt x="121" y="3"/>
                    <a:pt x="121" y="5"/>
                    <a:pt x="119" y="7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6" y="120"/>
                    <a:pt x="5" y="120"/>
                    <a:pt x="4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154">
              <a:extLst>
                <a:ext uri="{FF2B5EF4-FFF2-40B4-BE49-F238E27FC236}">
                  <a16:creationId xmlns:a16="http://schemas.microsoft.com/office/drawing/2014/main" id="{AC6D5BAA-1108-C0CE-6E5E-3F99B56A1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7782" y="3236539"/>
              <a:ext cx="158501" cy="161332"/>
            </a:xfrm>
            <a:custGeom>
              <a:avLst/>
              <a:gdLst>
                <a:gd name="T0" fmla="*/ 71 w 74"/>
                <a:gd name="T1" fmla="*/ 75 h 75"/>
                <a:gd name="T2" fmla="*/ 67 w 74"/>
                <a:gd name="T3" fmla="*/ 71 h 75"/>
                <a:gd name="T4" fmla="*/ 67 w 74"/>
                <a:gd name="T5" fmla="*/ 8 h 75"/>
                <a:gd name="T6" fmla="*/ 3 w 74"/>
                <a:gd name="T7" fmla="*/ 8 h 75"/>
                <a:gd name="T8" fmla="*/ 0 w 74"/>
                <a:gd name="T9" fmla="*/ 4 h 75"/>
                <a:gd name="T10" fmla="*/ 3 w 74"/>
                <a:gd name="T11" fmla="*/ 0 h 75"/>
                <a:gd name="T12" fmla="*/ 71 w 74"/>
                <a:gd name="T13" fmla="*/ 0 h 75"/>
                <a:gd name="T14" fmla="*/ 74 w 74"/>
                <a:gd name="T15" fmla="*/ 4 h 75"/>
                <a:gd name="T16" fmla="*/ 74 w 74"/>
                <a:gd name="T17" fmla="*/ 71 h 75"/>
                <a:gd name="T18" fmla="*/ 71 w 74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5">
                  <a:moveTo>
                    <a:pt x="71" y="75"/>
                  </a:moveTo>
                  <a:cubicBezTo>
                    <a:pt x="69" y="75"/>
                    <a:pt x="67" y="73"/>
                    <a:pt x="67" y="71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4" y="2"/>
                    <a:pt x="74" y="4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73"/>
                    <a:pt x="73" y="75"/>
                    <a:pt x="71" y="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3" name="Shape7_20200717_154412">
            <a:extLst>
              <a:ext uri="{FF2B5EF4-FFF2-40B4-BE49-F238E27FC236}">
                <a16:creationId xmlns:a16="http://schemas.microsoft.com/office/drawing/2014/main" id="{A218F314-8771-13C9-EB2B-86981630FD2E}"/>
              </a:ext>
            </a:extLst>
          </p:cNvPr>
          <p:cNvGrpSpPr/>
          <p:nvPr/>
        </p:nvGrpSpPr>
        <p:grpSpPr>
          <a:xfrm>
            <a:off x="1909194" y="1417917"/>
            <a:ext cx="540272" cy="332474"/>
            <a:chOff x="-4853650" y="1170363"/>
            <a:chExt cx="478335" cy="294359"/>
          </a:xfrm>
          <a:solidFill>
            <a:schemeClr val="accent1"/>
          </a:solidFill>
        </p:grpSpPr>
        <p:sp>
          <p:nvSpPr>
            <p:cNvPr id="64" name="Freeform 155">
              <a:extLst>
                <a:ext uri="{FF2B5EF4-FFF2-40B4-BE49-F238E27FC236}">
                  <a16:creationId xmlns:a16="http://schemas.microsoft.com/office/drawing/2014/main" id="{A5668212-97C9-B477-3CA4-2FA1F07BB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3650" y="1309051"/>
              <a:ext cx="478335" cy="16982"/>
            </a:xfrm>
            <a:custGeom>
              <a:avLst/>
              <a:gdLst>
                <a:gd name="T0" fmla="*/ 221 w 224"/>
                <a:gd name="T1" fmla="*/ 7 h 7"/>
                <a:gd name="T2" fmla="*/ 3 w 224"/>
                <a:gd name="T3" fmla="*/ 7 h 7"/>
                <a:gd name="T4" fmla="*/ 0 w 224"/>
                <a:gd name="T5" fmla="*/ 4 h 7"/>
                <a:gd name="T6" fmla="*/ 3 w 224"/>
                <a:gd name="T7" fmla="*/ 0 h 7"/>
                <a:gd name="T8" fmla="*/ 221 w 224"/>
                <a:gd name="T9" fmla="*/ 0 h 7"/>
                <a:gd name="T10" fmla="*/ 224 w 224"/>
                <a:gd name="T11" fmla="*/ 4 h 7"/>
                <a:gd name="T12" fmla="*/ 221 w 22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7">
                  <a:moveTo>
                    <a:pt x="221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3" y="0"/>
                    <a:pt x="224" y="2"/>
                    <a:pt x="224" y="4"/>
                  </a:cubicBezTo>
                  <a:cubicBezTo>
                    <a:pt x="224" y="6"/>
                    <a:pt x="223" y="7"/>
                    <a:pt x="22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156">
              <a:extLst>
                <a:ext uri="{FF2B5EF4-FFF2-40B4-BE49-F238E27FC236}">
                  <a16:creationId xmlns:a16="http://schemas.microsoft.com/office/drawing/2014/main" id="{41FA87D0-BA31-76F2-3AFE-3DBF03B6D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30987" y="1170363"/>
              <a:ext cx="155672" cy="294359"/>
            </a:xfrm>
            <a:custGeom>
              <a:avLst/>
              <a:gdLst>
                <a:gd name="T0" fmla="*/ 4 w 73"/>
                <a:gd name="T1" fmla="*/ 137 h 137"/>
                <a:gd name="T2" fmla="*/ 2 w 73"/>
                <a:gd name="T3" fmla="*/ 136 h 137"/>
                <a:gd name="T4" fmla="*/ 2 w 73"/>
                <a:gd name="T5" fmla="*/ 131 h 137"/>
                <a:gd name="T6" fmla="*/ 64 w 73"/>
                <a:gd name="T7" fmla="*/ 69 h 137"/>
                <a:gd name="T8" fmla="*/ 2 w 73"/>
                <a:gd name="T9" fmla="*/ 6 h 137"/>
                <a:gd name="T10" fmla="*/ 2 w 73"/>
                <a:gd name="T11" fmla="*/ 1 h 137"/>
                <a:gd name="T12" fmla="*/ 7 w 73"/>
                <a:gd name="T13" fmla="*/ 1 h 137"/>
                <a:gd name="T14" fmla="*/ 72 w 73"/>
                <a:gd name="T15" fmla="*/ 66 h 137"/>
                <a:gd name="T16" fmla="*/ 73 w 73"/>
                <a:gd name="T17" fmla="*/ 69 h 137"/>
                <a:gd name="T18" fmla="*/ 72 w 73"/>
                <a:gd name="T19" fmla="*/ 71 h 137"/>
                <a:gd name="T20" fmla="*/ 7 w 73"/>
                <a:gd name="T21" fmla="*/ 136 h 137"/>
                <a:gd name="T22" fmla="*/ 4 w 73"/>
                <a:gd name="T2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137">
                  <a:moveTo>
                    <a:pt x="4" y="137"/>
                  </a:moveTo>
                  <a:cubicBezTo>
                    <a:pt x="3" y="137"/>
                    <a:pt x="3" y="137"/>
                    <a:pt x="2" y="136"/>
                  </a:cubicBezTo>
                  <a:cubicBezTo>
                    <a:pt x="0" y="135"/>
                    <a:pt x="0" y="132"/>
                    <a:pt x="2" y="131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3" y="67"/>
                    <a:pt x="73" y="68"/>
                    <a:pt x="73" y="69"/>
                  </a:cubicBezTo>
                  <a:cubicBezTo>
                    <a:pt x="73" y="70"/>
                    <a:pt x="73" y="70"/>
                    <a:pt x="72" y="71"/>
                  </a:cubicBezTo>
                  <a:cubicBezTo>
                    <a:pt x="7" y="136"/>
                    <a:pt x="7" y="136"/>
                    <a:pt x="7" y="136"/>
                  </a:cubicBezTo>
                  <a:cubicBezTo>
                    <a:pt x="6" y="137"/>
                    <a:pt x="5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6" name="Shape8_20200717_154412">
            <a:extLst>
              <a:ext uri="{FF2B5EF4-FFF2-40B4-BE49-F238E27FC236}">
                <a16:creationId xmlns:a16="http://schemas.microsoft.com/office/drawing/2014/main" id="{914B641E-7FA9-926D-04F4-B81B873E1CA9}"/>
              </a:ext>
            </a:extLst>
          </p:cNvPr>
          <p:cNvGrpSpPr/>
          <p:nvPr/>
        </p:nvGrpSpPr>
        <p:grpSpPr>
          <a:xfrm>
            <a:off x="9819258" y="1392442"/>
            <a:ext cx="386823" cy="332473"/>
            <a:chOff x="-4785721" y="2231754"/>
            <a:chExt cx="342477" cy="294358"/>
          </a:xfrm>
          <a:solidFill>
            <a:schemeClr val="accent1"/>
          </a:solidFill>
        </p:grpSpPr>
        <p:sp>
          <p:nvSpPr>
            <p:cNvPr id="67" name="Freeform 157">
              <a:extLst>
                <a:ext uri="{FF2B5EF4-FFF2-40B4-BE49-F238E27FC236}">
                  <a16:creationId xmlns:a16="http://schemas.microsoft.com/office/drawing/2014/main" id="{C060C25F-81E4-46AF-9930-EE1891CBE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5721" y="2350629"/>
              <a:ext cx="342477" cy="175483"/>
            </a:xfrm>
            <a:custGeom>
              <a:avLst/>
              <a:gdLst>
                <a:gd name="T0" fmla="*/ 80 w 160"/>
                <a:gd name="T1" fmla="*/ 83 h 83"/>
                <a:gd name="T2" fmla="*/ 77 w 160"/>
                <a:gd name="T3" fmla="*/ 82 h 83"/>
                <a:gd name="T4" fmla="*/ 1 w 160"/>
                <a:gd name="T5" fmla="*/ 6 h 83"/>
                <a:gd name="T6" fmla="*/ 1 w 160"/>
                <a:gd name="T7" fmla="*/ 1 h 83"/>
                <a:gd name="T8" fmla="*/ 6 w 160"/>
                <a:gd name="T9" fmla="*/ 1 h 83"/>
                <a:gd name="T10" fmla="*/ 80 w 160"/>
                <a:gd name="T11" fmla="*/ 75 h 83"/>
                <a:gd name="T12" fmla="*/ 153 w 160"/>
                <a:gd name="T13" fmla="*/ 1 h 83"/>
                <a:gd name="T14" fmla="*/ 158 w 160"/>
                <a:gd name="T15" fmla="*/ 1 h 83"/>
                <a:gd name="T16" fmla="*/ 158 w 160"/>
                <a:gd name="T17" fmla="*/ 6 h 83"/>
                <a:gd name="T18" fmla="*/ 82 w 160"/>
                <a:gd name="T19" fmla="*/ 82 h 83"/>
                <a:gd name="T20" fmla="*/ 80 w 160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3">
                  <a:moveTo>
                    <a:pt x="80" y="83"/>
                  </a:moveTo>
                  <a:cubicBezTo>
                    <a:pt x="79" y="83"/>
                    <a:pt x="78" y="83"/>
                    <a:pt x="77" y="8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5" y="0"/>
                    <a:pt x="157" y="0"/>
                    <a:pt x="158" y="1"/>
                  </a:cubicBezTo>
                  <a:cubicBezTo>
                    <a:pt x="160" y="3"/>
                    <a:pt x="160" y="5"/>
                    <a:pt x="158" y="6"/>
                  </a:cubicBezTo>
                  <a:cubicBezTo>
                    <a:pt x="82" y="82"/>
                    <a:pt x="82" y="82"/>
                    <a:pt x="82" y="82"/>
                  </a:cubicBezTo>
                  <a:cubicBezTo>
                    <a:pt x="82" y="83"/>
                    <a:pt x="81" y="83"/>
                    <a:pt x="80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158">
              <a:extLst>
                <a:ext uri="{FF2B5EF4-FFF2-40B4-BE49-F238E27FC236}">
                  <a16:creationId xmlns:a16="http://schemas.microsoft.com/office/drawing/2014/main" id="{A3F00ECB-2ABF-0E6A-9780-0BB93EC96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5721" y="2231754"/>
              <a:ext cx="342477" cy="178314"/>
            </a:xfrm>
            <a:custGeom>
              <a:avLst/>
              <a:gdLst>
                <a:gd name="T0" fmla="*/ 80 w 160"/>
                <a:gd name="T1" fmla="*/ 83 h 83"/>
                <a:gd name="T2" fmla="*/ 77 w 160"/>
                <a:gd name="T3" fmla="*/ 82 h 83"/>
                <a:gd name="T4" fmla="*/ 1 w 160"/>
                <a:gd name="T5" fmla="*/ 6 h 83"/>
                <a:gd name="T6" fmla="*/ 1 w 160"/>
                <a:gd name="T7" fmla="*/ 1 h 83"/>
                <a:gd name="T8" fmla="*/ 6 w 160"/>
                <a:gd name="T9" fmla="*/ 1 h 83"/>
                <a:gd name="T10" fmla="*/ 80 w 160"/>
                <a:gd name="T11" fmla="*/ 74 h 83"/>
                <a:gd name="T12" fmla="*/ 153 w 160"/>
                <a:gd name="T13" fmla="*/ 1 h 83"/>
                <a:gd name="T14" fmla="*/ 158 w 160"/>
                <a:gd name="T15" fmla="*/ 1 h 83"/>
                <a:gd name="T16" fmla="*/ 158 w 160"/>
                <a:gd name="T17" fmla="*/ 6 h 83"/>
                <a:gd name="T18" fmla="*/ 82 w 160"/>
                <a:gd name="T19" fmla="*/ 82 h 83"/>
                <a:gd name="T20" fmla="*/ 80 w 160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83">
                  <a:moveTo>
                    <a:pt x="80" y="83"/>
                  </a:moveTo>
                  <a:cubicBezTo>
                    <a:pt x="79" y="83"/>
                    <a:pt x="78" y="83"/>
                    <a:pt x="77" y="8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5" y="0"/>
                    <a:pt x="157" y="0"/>
                    <a:pt x="158" y="1"/>
                  </a:cubicBezTo>
                  <a:cubicBezTo>
                    <a:pt x="160" y="2"/>
                    <a:pt x="160" y="5"/>
                    <a:pt x="158" y="6"/>
                  </a:cubicBezTo>
                  <a:cubicBezTo>
                    <a:pt x="82" y="82"/>
                    <a:pt x="82" y="82"/>
                    <a:pt x="82" y="82"/>
                  </a:cubicBezTo>
                  <a:cubicBezTo>
                    <a:pt x="82" y="83"/>
                    <a:pt x="81" y="83"/>
                    <a:pt x="80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9" name="Shape9_20200717_154412">
            <a:extLst>
              <a:ext uri="{FF2B5EF4-FFF2-40B4-BE49-F238E27FC236}">
                <a16:creationId xmlns:a16="http://schemas.microsoft.com/office/drawing/2014/main" id="{243A5F4A-06D6-92F5-D5C8-45B837978CE8}"/>
              </a:ext>
            </a:extLst>
          </p:cNvPr>
          <p:cNvGrpSpPr/>
          <p:nvPr/>
        </p:nvGrpSpPr>
        <p:grpSpPr>
          <a:xfrm>
            <a:off x="11151988" y="1369800"/>
            <a:ext cx="332475" cy="386824"/>
            <a:chOff x="-3780937" y="2209111"/>
            <a:chExt cx="294360" cy="342478"/>
          </a:xfrm>
          <a:solidFill>
            <a:schemeClr val="accent1"/>
          </a:solidFill>
        </p:grpSpPr>
        <p:sp>
          <p:nvSpPr>
            <p:cNvPr id="70" name="Freeform 159">
              <a:extLst>
                <a:ext uri="{FF2B5EF4-FFF2-40B4-BE49-F238E27FC236}">
                  <a16:creationId xmlns:a16="http://schemas.microsoft.com/office/drawing/2014/main" id="{F164672E-2F88-FDD1-6C45-855160BC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0937" y="2209111"/>
              <a:ext cx="178315" cy="342478"/>
            </a:xfrm>
            <a:custGeom>
              <a:avLst/>
              <a:gdLst>
                <a:gd name="T0" fmla="*/ 80 w 84"/>
                <a:gd name="T1" fmla="*/ 160 h 160"/>
                <a:gd name="T2" fmla="*/ 78 w 84"/>
                <a:gd name="T3" fmla="*/ 159 h 160"/>
                <a:gd name="T4" fmla="*/ 2 w 84"/>
                <a:gd name="T5" fmla="*/ 83 h 160"/>
                <a:gd name="T6" fmla="*/ 2 w 84"/>
                <a:gd name="T7" fmla="*/ 78 h 160"/>
                <a:gd name="T8" fmla="*/ 78 w 84"/>
                <a:gd name="T9" fmla="*/ 2 h 160"/>
                <a:gd name="T10" fmla="*/ 83 w 84"/>
                <a:gd name="T11" fmla="*/ 2 h 160"/>
                <a:gd name="T12" fmla="*/ 83 w 84"/>
                <a:gd name="T13" fmla="*/ 7 h 160"/>
                <a:gd name="T14" fmla="*/ 9 w 84"/>
                <a:gd name="T15" fmla="*/ 80 h 160"/>
                <a:gd name="T16" fmla="*/ 83 w 84"/>
                <a:gd name="T17" fmla="*/ 154 h 160"/>
                <a:gd name="T18" fmla="*/ 83 w 84"/>
                <a:gd name="T19" fmla="*/ 159 h 160"/>
                <a:gd name="T20" fmla="*/ 80 w 84"/>
                <a:gd name="T21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160">
                  <a:moveTo>
                    <a:pt x="80" y="160"/>
                  </a:moveTo>
                  <a:cubicBezTo>
                    <a:pt x="79" y="160"/>
                    <a:pt x="78" y="159"/>
                    <a:pt x="78" y="159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81"/>
                    <a:pt x="0" y="79"/>
                    <a:pt x="2" y="78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9" y="0"/>
                    <a:pt x="81" y="0"/>
                    <a:pt x="83" y="2"/>
                  </a:cubicBezTo>
                  <a:cubicBezTo>
                    <a:pt x="84" y="3"/>
                    <a:pt x="84" y="5"/>
                    <a:pt x="83" y="7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3" y="154"/>
                    <a:pt x="83" y="154"/>
                    <a:pt x="83" y="154"/>
                  </a:cubicBezTo>
                  <a:cubicBezTo>
                    <a:pt x="84" y="155"/>
                    <a:pt x="84" y="157"/>
                    <a:pt x="83" y="159"/>
                  </a:cubicBezTo>
                  <a:cubicBezTo>
                    <a:pt x="82" y="159"/>
                    <a:pt x="81" y="160"/>
                    <a:pt x="80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160">
              <a:extLst>
                <a:ext uri="{FF2B5EF4-FFF2-40B4-BE49-F238E27FC236}">
                  <a16:creationId xmlns:a16="http://schemas.microsoft.com/office/drawing/2014/main" id="{2309FBD2-8122-DB21-FDCC-B607FF9C5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62061" y="2209111"/>
              <a:ext cx="175484" cy="342478"/>
            </a:xfrm>
            <a:custGeom>
              <a:avLst/>
              <a:gdLst>
                <a:gd name="T0" fmla="*/ 79 w 83"/>
                <a:gd name="T1" fmla="*/ 160 h 160"/>
                <a:gd name="T2" fmla="*/ 77 w 83"/>
                <a:gd name="T3" fmla="*/ 159 h 160"/>
                <a:gd name="T4" fmla="*/ 1 w 83"/>
                <a:gd name="T5" fmla="*/ 83 h 160"/>
                <a:gd name="T6" fmla="*/ 1 w 83"/>
                <a:gd name="T7" fmla="*/ 78 h 160"/>
                <a:gd name="T8" fmla="*/ 77 w 83"/>
                <a:gd name="T9" fmla="*/ 2 h 160"/>
                <a:gd name="T10" fmla="*/ 82 w 83"/>
                <a:gd name="T11" fmla="*/ 2 h 160"/>
                <a:gd name="T12" fmla="*/ 82 w 83"/>
                <a:gd name="T13" fmla="*/ 7 h 160"/>
                <a:gd name="T14" fmla="*/ 9 w 83"/>
                <a:gd name="T15" fmla="*/ 80 h 160"/>
                <a:gd name="T16" fmla="*/ 82 w 83"/>
                <a:gd name="T17" fmla="*/ 154 h 160"/>
                <a:gd name="T18" fmla="*/ 82 w 83"/>
                <a:gd name="T19" fmla="*/ 159 h 160"/>
                <a:gd name="T20" fmla="*/ 79 w 83"/>
                <a:gd name="T21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160">
                  <a:moveTo>
                    <a:pt x="79" y="160"/>
                  </a:moveTo>
                  <a:cubicBezTo>
                    <a:pt x="79" y="160"/>
                    <a:pt x="78" y="159"/>
                    <a:pt x="77" y="159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8" y="0"/>
                    <a:pt x="81" y="0"/>
                    <a:pt x="82" y="2"/>
                  </a:cubicBezTo>
                  <a:cubicBezTo>
                    <a:pt x="83" y="3"/>
                    <a:pt x="83" y="5"/>
                    <a:pt x="82" y="7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3" y="155"/>
                    <a:pt x="83" y="157"/>
                    <a:pt x="82" y="159"/>
                  </a:cubicBezTo>
                  <a:cubicBezTo>
                    <a:pt x="81" y="159"/>
                    <a:pt x="80" y="160"/>
                    <a:pt x="79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2" name="Shape10_20200717_154412">
            <a:extLst>
              <a:ext uri="{FF2B5EF4-FFF2-40B4-BE49-F238E27FC236}">
                <a16:creationId xmlns:a16="http://schemas.microsoft.com/office/drawing/2014/main" id="{7ECC6F11-13B9-FF45-F400-43D58E0CAB0A}"/>
              </a:ext>
            </a:extLst>
          </p:cNvPr>
          <p:cNvGrpSpPr/>
          <p:nvPr/>
        </p:nvGrpSpPr>
        <p:grpSpPr>
          <a:xfrm>
            <a:off x="705938" y="2667660"/>
            <a:ext cx="335673" cy="386824"/>
            <a:chOff x="-2801625" y="2209111"/>
            <a:chExt cx="297191" cy="342478"/>
          </a:xfrm>
          <a:solidFill>
            <a:schemeClr val="accent1"/>
          </a:solidFill>
        </p:grpSpPr>
        <p:sp>
          <p:nvSpPr>
            <p:cNvPr id="73" name="Freeform 161">
              <a:extLst>
                <a:ext uri="{FF2B5EF4-FFF2-40B4-BE49-F238E27FC236}">
                  <a16:creationId xmlns:a16="http://schemas.microsoft.com/office/drawing/2014/main" id="{4086A7DD-E75F-ED29-669B-512686969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9918" y="2209111"/>
              <a:ext cx="175484" cy="342478"/>
            </a:xfrm>
            <a:custGeom>
              <a:avLst/>
              <a:gdLst>
                <a:gd name="T0" fmla="*/ 4 w 83"/>
                <a:gd name="T1" fmla="*/ 160 h 160"/>
                <a:gd name="T2" fmla="*/ 1 w 83"/>
                <a:gd name="T3" fmla="*/ 159 h 160"/>
                <a:gd name="T4" fmla="*/ 1 w 83"/>
                <a:gd name="T5" fmla="*/ 154 h 160"/>
                <a:gd name="T6" fmla="*/ 74 w 83"/>
                <a:gd name="T7" fmla="*/ 80 h 160"/>
                <a:gd name="T8" fmla="*/ 1 w 83"/>
                <a:gd name="T9" fmla="*/ 7 h 160"/>
                <a:gd name="T10" fmla="*/ 1 w 83"/>
                <a:gd name="T11" fmla="*/ 2 h 160"/>
                <a:gd name="T12" fmla="*/ 6 w 83"/>
                <a:gd name="T13" fmla="*/ 2 h 160"/>
                <a:gd name="T14" fmla="*/ 82 w 83"/>
                <a:gd name="T15" fmla="*/ 78 h 160"/>
                <a:gd name="T16" fmla="*/ 83 w 83"/>
                <a:gd name="T17" fmla="*/ 80 h 160"/>
                <a:gd name="T18" fmla="*/ 82 w 83"/>
                <a:gd name="T19" fmla="*/ 83 h 160"/>
                <a:gd name="T20" fmla="*/ 6 w 83"/>
                <a:gd name="T21" fmla="*/ 159 h 160"/>
                <a:gd name="T22" fmla="*/ 4 w 83"/>
                <a:gd name="T2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60">
                  <a:moveTo>
                    <a:pt x="4" y="160"/>
                  </a:moveTo>
                  <a:cubicBezTo>
                    <a:pt x="3" y="160"/>
                    <a:pt x="2" y="159"/>
                    <a:pt x="1" y="159"/>
                  </a:cubicBezTo>
                  <a:cubicBezTo>
                    <a:pt x="0" y="157"/>
                    <a:pt x="0" y="155"/>
                    <a:pt x="1" y="154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3" y="78"/>
                    <a:pt x="83" y="79"/>
                    <a:pt x="83" y="80"/>
                  </a:cubicBezTo>
                  <a:cubicBezTo>
                    <a:pt x="83" y="81"/>
                    <a:pt x="83" y="82"/>
                    <a:pt x="82" y="83"/>
                  </a:cubicBezTo>
                  <a:cubicBezTo>
                    <a:pt x="6" y="159"/>
                    <a:pt x="6" y="159"/>
                    <a:pt x="6" y="159"/>
                  </a:cubicBezTo>
                  <a:cubicBezTo>
                    <a:pt x="5" y="159"/>
                    <a:pt x="4" y="160"/>
                    <a:pt x="4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162">
              <a:extLst>
                <a:ext uri="{FF2B5EF4-FFF2-40B4-BE49-F238E27FC236}">
                  <a16:creationId xmlns:a16="http://schemas.microsoft.com/office/drawing/2014/main" id="{E43E2539-2F22-70EA-6B35-480E7F483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01625" y="2209111"/>
              <a:ext cx="181144" cy="342478"/>
            </a:xfrm>
            <a:custGeom>
              <a:avLst/>
              <a:gdLst>
                <a:gd name="T0" fmla="*/ 4 w 84"/>
                <a:gd name="T1" fmla="*/ 160 h 160"/>
                <a:gd name="T2" fmla="*/ 2 w 84"/>
                <a:gd name="T3" fmla="*/ 159 h 160"/>
                <a:gd name="T4" fmla="*/ 2 w 84"/>
                <a:gd name="T5" fmla="*/ 154 h 160"/>
                <a:gd name="T6" fmla="*/ 75 w 84"/>
                <a:gd name="T7" fmla="*/ 80 h 160"/>
                <a:gd name="T8" fmla="*/ 2 w 84"/>
                <a:gd name="T9" fmla="*/ 7 h 160"/>
                <a:gd name="T10" fmla="*/ 2 w 84"/>
                <a:gd name="T11" fmla="*/ 2 h 160"/>
                <a:gd name="T12" fmla="*/ 7 w 84"/>
                <a:gd name="T13" fmla="*/ 2 h 160"/>
                <a:gd name="T14" fmla="*/ 83 w 84"/>
                <a:gd name="T15" fmla="*/ 78 h 160"/>
                <a:gd name="T16" fmla="*/ 84 w 84"/>
                <a:gd name="T17" fmla="*/ 80 h 160"/>
                <a:gd name="T18" fmla="*/ 83 w 84"/>
                <a:gd name="T19" fmla="*/ 83 h 160"/>
                <a:gd name="T20" fmla="*/ 7 w 84"/>
                <a:gd name="T21" fmla="*/ 159 h 160"/>
                <a:gd name="T22" fmla="*/ 4 w 84"/>
                <a:gd name="T2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160">
                  <a:moveTo>
                    <a:pt x="4" y="160"/>
                  </a:moveTo>
                  <a:cubicBezTo>
                    <a:pt x="3" y="160"/>
                    <a:pt x="2" y="159"/>
                    <a:pt x="2" y="159"/>
                  </a:cubicBezTo>
                  <a:cubicBezTo>
                    <a:pt x="0" y="157"/>
                    <a:pt x="0" y="155"/>
                    <a:pt x="2" y="154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3" y="78"/>
                    <a:pt x="84" y="79"/>
                    <a:pt x="84" y="80"/>
                  </a:cubicBezTo>
                  <a:cubicBezTo>
                    <a:pt x="84" y="81"/>
                    <a:pt x="83" y="82"/>
                    <a:pt x="83" y="83"/>
                  </a:cubicBezTo>
                  <a:cubicBezTo>
                    <a:pt x="7" y="159"/>
                    <a:pt x="7" y="159"/>
                    <a:pt x="7" y="159"/>
                  </a:cubicBezTo>
                  <a:cubicBezTo>
                    <a:pt x="6" y="159"/>
                    <a:pt x="5" y="160"/>
                    <a:pt x="4" y="1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75" name="Shape11_20200717_154412">
            <a:extLst>
              <a:ext uri="{FF2B5EF4-FFF2-40B4-BE49-F238E27FC236}">
                <a16:creationId xmlns:a16="http://schemas.microsoft.com/office/drawing/2014/main" id="{EB6A8D6A-75F8-4645-28BC-5EA56F1E23AE}"/>
              </a:ext>
            </a:extLst>
          </p:cNvPr>
          <p:cNvSpPr>
            <a:spLocks/>
          </p:cNvSpPr>
          <p:nvPr/>
        </p:nvSpPr>
        <p:spPr bwMode="auto">
          <a:xfrm>
            <a:off x="7208144" y="2733046"/>
            <a:ext cx="386822" cy="204599"/>
          </a:xfrm>
          <a:custGeom>
            <a:avLst/>
            <a:gdLst>
              <a:gd name="T0" fmla="*/ 156 w 160"/>
              <a:gd name="T1" fmla="*/ 83 h 84"/>
              <a:gd name="T2" fmla="*/ 153 w 160"/>
              <a:gd name="T3" fmla="*/ 82 h 84"/>
              <a:gd name="T4" fmla="*/ 80 w 160"/>
              <a:gd name="T5" fmla="*/ 9 h 84"/>
              <a:gd name="T6" fmla="*/ 6 w 160"/>
              <a:gd name="T7" fmla="*/ 82 h 84"/>
              <a:gd name="T8" fmla="*/ 1 w 160"/>
              <a:gd name="T9" fmla="*/ 82 h 84"/>
              <a:gd name="T10" fmla="*/ 1 w 160"/>
              <a:gd name="T11" fmla="*/ 77 h 84"/>
              <a:gd name="T12" fmla="*/ 77 w 160"/>
              <a:gd name="T13" fmla="*/ 1 h 84"/>
              <a:gd name="T14" fmla="*/ 82 w 160"/>
              <a:gd name="T15" fmla="*/ 1 h 84"/>
              <a:gd name="T16" fmla="*/ 158 w 160"/>
              <a:gd name="T17" fmla="*/ 77 h 84"/>
              <a:gd name="T18" fmla="*/ 158 w 160"/>
              <a:gd name="T19" fmla="*/ 82 h 84"/>
              <a:gd name="T20" fmla="*/ 156 w 160"/>
              <a:gd name="T21" fmla="*/ 83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84">
                <a:moveTo>
                  <a:pt x="156" y="83"/>
                </a:moveTo>
                <a:cubicBezTo>
                  <a:pt x="155" y="83"/>
                  <a:pt x="154" y="83"/>
                  <a:pt x="153" y="82"/>
                </a:cubicBezTo>
                <a:cubicBezTo>
                  <a:pt x="80" y="9"/>
                  <a:pt x="80" y="9"/>
                  <a:pt x="80" y="9"/>
                </a:cubicBezTo>
                <a:cubicBezTo>
                  <a:pt x="6" y="82"/>
                  <a:pt x="6" y="82"/>
                  <a:pt x="6" y="82"/>
                </a:cubicBezTo>
                <a:cubicBezTo>
                  <a:pt x="5" y="84"/>
                  <a:pt x="3" y="84"/>
                  <a:pt x="1" y="82"/>
                </a:cubicBezTo>
                <a:cubicBezTo>
                  <a:pt x="0" y="81"/>
                  <a:pt x="0" y="79"/>
                  <a:pt x="1" y="77"/>
                </a:cubicBezTo>
                <a:cubicBezTo>
                  <a:pt x="77" y="1"/>
                  <a:pt x="77" y="1"/>
                  <a:pt x="77" y="1"/>
                </a:cubicBezTo>
                <a:cubicBezTo>
                  <a:pt x="79" y="0"/>
                  <a:pt x="81" y="0"/>
                  <a:pt x="82" y="1"/>
                </a:cubicBezTo>
                <a:cubicBezTo>
                  <a:pt x="158" y="77"/>
                  <a:pt x="158" y="77"/>
                  <a:pt x="158" y="77"/>
                </a:cubicBezTo>
                <a:cubicBezTo>
                  <a:pt x="160" y="79"/>
                  <a:pt x="160" y="81"/>
                  <a:pt x="158" y="82"/>
                </a:cubicBezTo>
                <a:cubicBezTo>
                  <a:pt x="158" y="83"/>
                  <a:pt x="157" y="83"/>
                  <a:pt x="156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6" name="Shape12_20200717_154412">
            <a:extLst>
              <a:ext uri="{FF2B5EF4-FFF2-40B4-BE49-F238E27FC236}">
                <a16:creationId xmlns:a16="http://schemas.microsoft.com/office/drawing/2014/main" id="{71664867-AA45-3628-30D9-544171F536EC}"/>
              </a:ext>
            </a:extLst>
          </p:cNvPr>
          <p:cNvSpPr>
            <a:spLocks/>
          </p:cNvSpPr>
          <p:nvPr/>
        </p:nvSpPr>
        <p:spPr bwMode="auto">
          <a:xfrm>
            <a:off x="8515299" y="2733046"/>
            <a:ext cx="383625" cy="201403"/>
          </a:xfrm>
          <a:custGeom>
            <a:avLst/>
            <a:gdLst>
              <a:gd name="T0" fmla="*/ 80 w 160"/>
              <a:gd name="T1" fmla="*/ 83 h 83"/>
              <a:gd name="T2" fmla="*/ 77 w 160"/>
              <a:gd name="T3" fmla="*/ 82 h 83"/>
              <a:gd name="T4" fmla="*/ 1 w 160"/>
              <a:gd name="T5" fmla="*/ 6 h 83"/>
              <a:gd name="T6" fmla="*/ 1 w 160"/>
              <a:gd name="T7" fmla="*/ 1 h 83"/>
              <a:gd name="T8" fmla="*/ 7 w 160"/>
              <a:gd name="T9" fmla="*/ 1 h 83"/>
              <a:gd name="T10" fmla="*/ 80 w 160"/>
              <a:gd name="T11" fmla="*/ 75 h 83"/>
              <a:gd name="T12" fmla="*/ 153 w 160"/>
              <a:gd name="T13" fmla="*/ 1 h 83"/>
              <a:gd name="T14" fmla="*/ 158 w 160"/>
              <a:gd name="T15" fmla="*/ 1 h 83"/>
              <a:gd name="T16" fmla="*/ 158 w 160"/>
              <a:gd name="T17" fmla="*/ 6 h 83"/>
              <a:gd name="T18" fmla="*/ 82 w 160"/>
              <a:gd name="T19" fmla="*/ 82 h 83"/>
              <a:gd name="T20" fmla="*/ 80 w 160"/>
              <a:gd name="T21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83">
                <a:moveTo>
                  <a:pt x="80" y="83"/>
                </a:moveTo>
                <a:cubicBezTo>
                  <a:pt x="79" y="83"/>
                  <a:pt x="78" y="83"/>
                  <a:pt x="77" y="82"/>
                </a:cubicBezTo>
                <a:cubicBezTo>
                  <a:pt x="1" y="6"/>
                  <a:pt x="1" y="6"/>
                  <a:pt x="1" y="6"/>
                </a:cubicBezTo>
                <a:cubicBezTo>
                  <a:pt x="0" y="5"/>
                  <a:pt x="0" y="3"/>
                  <a:pt x="1" y="1"/>
                </a:cubicBezTo>
                <a:cubicBezTo>
                  <a:pt x="3" y="0"/>
                  <a:pt x="5" y="0"/>
                  <a:pt x="7" y="1"/>
                </a:cubicBezTo>
                <a:cubicBezTo>
                  <a:pt x="80" y="75"/>
                  <a:pt x="80" y="75"/>
                  <a:pt x="80" y="75"/>
                </a:cubicBezTo>
                <a:cubicBezTo>
                  <a:pt x="153" y="1"/>
                  <a:pt x="153" y="1"/>
                  <a:pt x="153" y="1"/>
                </a:cubicBezTo>
                <a:cubicBezTo>
                  <a:pt x="155" y="0"/>
                  <a:pt x="157" y="0"/>
                  <a:pt x="158" y="1"/>
                </a:cubicBezTo>
                <a:cubicBezTo>
                  <a:pt x="160" y="3"/>
                  <a:pt x="160" y="5"/>
                  <a:pt x="158" y="6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83"/>
                  <a:pt x="81" y="83"/>
                  <a:pt x="80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7" name="Shape13_20200717_154412">
            <a:extLst>
              <a:ext uri="{FF2B5EF4-FFF2-40B4-BE49-F238E27FC236}">
                <a16:creationId xmlns:a16="http://schemas.microsoft.com/office/drawing/2014/main" id="{53006E45-4C9F-E86B-7D0B-3ED4AA4AE5D2}"/>
              </a:ext>
            </a:extLst>
          </p:cNvPr>
          <p:cNvSpPr>
            <a:spLocks/>
          </p:cNvSpPr>
          <p:nvPr/>
        </p:nvSpPr>
        <p:spPr bwMode="auto">
          <a:xfrm>
            <a:off x="9911967" y="2653795"/>
            <a:ext cx="201404" cy="383624"/>
          </a:xfrm>
          <a:custGeom>
            <a:avLst/>
            <a:gdLst>
              <a:gd name="T0" fmla="*/ 80 w 84"/>
              <a:gd name="T1" fmla="*/ 159 h 159"/>
              <a:gd name="T2" fmla="*/ 77 w 84"/>
              <a:gd name="T3" fmla="*/ 158 h 159"/>
              <a:gd name="T4" fmla="*/ 1 w 84"/>
              <a:gd name="T5" fmla="*/ 82 h 159"/>
              <a:gd name="T6" fmla="*/ 0 w 84"/>
              <a:gd name="T7" fmla="*/ 80 h 159"/>
              <a:gd name="T8" fmla="*/ 1 w 84"/>
              <a:gd name="T9" fmla="*/ 77 h 159"/>
              <a:gd name="T10" fmla="*/ 77 w 84"/>
              <a:gd name="T11" fmla="*/ 1 h 159"/>
              <a:gd name="T12" fmla="*/ 82 w 84"/>
              <a:gd name="T13" fmla="*/ 1 h 159"/>
              <a:gd name="T14" fmla="*/ 82 w 84"/>
              <a:gd name="T15" fmla="*/ 6 h 159"/>
              <a:gd name="T16" fmla="*/ 9 w 84"/>
              <a:gd name="T17" fmla="*/ 80 h 159"/>
              <a:gd name="T18" fmla="*/ 82 w 84"/>
              <a:gd name="T19" fmla="*/ 153 h 159"/>
              <a:gd name="T20" fmla="*/ 82 w 84"/>
              <a:gd name="T21" fmla="*/ 158 h 159"/>
              <a:gd name="T22" fmla="*/ 80 w 84"/>
              <a:gd name="T23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" h="159">
                <a:moveTo>
                  <a:pt x="80" y="159"/>
                </a:moveTo>
                <a:cubicBezTo>
                  <a:pt x="79" y="159"/>
                  <a:pt x="78" y="159"/>
                  <a:pt x="77" y="158"/>
                </a:cubicBezTo>
                <a:cubicBezTo>
                  <a:pt x="1" y="82"/>
                  <a:pt x="1" y="82"/>
                  <a:pt x="1" y="82"/>
                </a:cubicBezTo>
                <a:cubicBezTo>
                  <a:pt x="1" y="82"/>
                  <a:pt x="0" y="81"/>
                  <a:pt x="0" y="80"/>
                </a:cubicBezTo>
                <a:cubicBezTo>
                  <a:pt x="0" y="79"/>
                  <a:pt x="1" y="78"/>
                  <a:pt x="1" y="77"/>
                </a:cubicBezTo>
                <a:cubicBezTo>
                  <a:pt x="77" y="1"/>
                  <a:pt x="77" y="1"/>
                  <a:pt x="77" y="1"/>
                </a:cubicBezTo>
                <a:cubicBezTo>
                  <a:pt x="79" y="0"/>
                  <a:pt x="81" y="0"/>
                  <a:pt x="82" y="1"/>
                </a:cubicBezTo>
                <a:cubicBezTo>
                  <a:pt x="84" y="3"/>
                  <a:pt x="84" y="5"/>
                  <a:pt x="82" y="6"/>
                </a:cubicBezTo>
                <a:cubicBezTo>
                  <a:pt x="9" y="80"/>
                  <a:pt x="9" y="80"/>
                  <a:pt x="9" y="80"/>
                </a:cubicBezTo>
                <a:cubicBezTo>
                  <a:pt x="82" y="153"/>
                  <a:pt x="82" y="153"/>
                  <a:pt x="82" y="153"/>
                </a:cubicBezTo>
                <a:cubicBezTo>
                  <a:pt x="84" y="155"/>
                  <a:pt x="84" y="157"/>
                  <a:pt x="82" y="158"/>
                </a:cubicBezTo>
                <a:cubicBezTo>
                  <a:pt x="82" y="159"/>
                  <a:pt x="81" y="159"/>
                  <a:pt x="80" y="1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8" name="Shape14_20200717_154412">
            <a:extLst>
              <a:ext uri="{FF2B5EF4-FFF2-40B4-BE49-F238E27FC236}">
                <a16:creationId xmlns:a16="http://schemas.microsoft.com/office/drawing/2014/main" id="{89C6C6A0-40E8-7C2E-4193-5600B261DDAB}"/>
              </a:ext>
            </a:extLst>
          </p:cNvPr>
          <p:cNvSpPr>
            <a:spLocks/>
          </p:cNvSpPr>
          <p:nvPr/>
        </p:nvSpPr>
        <p:spPr bwMode="auto">
          <a:xfrm>
            <a:off x="11217523" y="2653795"/>
            <a:ext cx="201404" cy="383624"/>
          </a:xfrm>
          <a:custGeom>
            <a:avLst/>
            <a:gdLst>
              <a:gd name="T0" fmla="*/ 4 w 84"/>
              <a:gd name="T1" fmla="*/ 159 h 159"/>
              <a:gd name="T2" fmla="*/ 1 w 84"/>
              <a:gd name="T3" fmla="*/ 158 h 159"/>
              <a:gd name="T4" fmla="*/ 1 w 84"/>
              <a:gd name="T5" fmla="*/ 153 h 159"/>
              <a:gd name="T6" fmla="*/ 75 w 84"/>
              <a:gd name="T7" fmla="*/ 80 h 159"/>
              <a:gd name="T8" fmla="*/ 1 w 84"/>
              <a:gd name="T9" fmla="*/ 6 h 159"/>
              <a:gd name="T10" fmla="*/ 1 w 84"/>
              <a:gd name="T11" fmla="*/ 1 h 159"/>
              <a:gd name="T12" fmla="*/ 7 w 84"/>
              <a:gd name="T13" fmla="*/ 1 h 159"/>
              <a:gd name="T14" fmla="*/ 82 w 84"/>
              <a:gd name="T15" fmla="*/ 77 h 159"/>
              <a:gd name="T16" fmla="*/ 84 w 84"/>
              <a:gd name="T17" fmla="*/ 80 h 159"/>
              <a:gd name="T18" fmla="*/ 82 w 84"/>
              <a:gd name="T19" fmla="*/ 82 h 159"/>
              <a:gd name="T20" fmla="*/ 7 w 84"/>
              <a:gd name="T21" fmla="*/ 158 h 159"/>
              <a:gd name="T22" fmla="*/ 4 w 84"/>
              <a:gd name="T23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" h="159">
                <a:moveTo>
                  <a:pt x="4" y="159"/>
                </a:moveTo>
                <a:cubicBezTo>
                  <a:pt x="3" y="159"/>
                  <a:pt x="2" y="159"/>
                  <a:pt x="1" y="158"/>
                </a:cubicBezTo>
                <a:cubicBezTo>
                  <a:pt x="0" y="157"/>
                  <a:pt x="0" y="155"/>
                  <a:pt x="1" y="153"/>
                </a:cubicBezTo>
                <a:cubicBezTo>
                  <a:pt x="75" y="80"/>
                  <a:pt x="75" y="80"/>
                  <a:pt x="75" y="80"/>
                </a:cubicBezTo>
                <a:cubicBezTo>
                  <a:pt x="1" y="6"/>
                  <a:pt x="1" y="6"/>
                  <a:pt x="1" y="6"/>
                </a:cubicBezTo>
                <a:cubicBezTo>
                  <a:pt x="0" y="5"/>
                  <a:pt x="0" y="3"/>
                  <a:pt x="1" y="1"/>
                </a:cubicBezTo>
                <a:cubicBezTo>
                  <a:pt x="3" y="0"/>
                  <a:pt x="5" y="0"/>
                  <a:pt x="7" y="1"/>
                </a:cubicBezTo>
                <a:cubicBezTo>
                  <a:pt x="82" y="77"/>
                  <a:pt x="82" y="77"/>
                  <a:pt x="82" y="77"/>
                </a:cubicBezTo>
                <a:cubicBezTo>
                  <a:pt x="83" y="78"/>
                  <a:pt x="84" y="79"/>
                  <a:pt x="84" y="80"/>
                </a:cubicBezTo>
                <a:cubicBezTo>
                  <a:pt x="84" y="81"/>
                  <a:pt x="83" y="82"/>
                  <a:pt x="82" y="82"/>
                </a:cubicBezTo>
                <a:cubicBezTo>
                  <a:pt x="7" y="158"/>
                  <a:pt x="7" y="158"/>
                  <a:pt x="7" y="158"/>
                </a:cubicBezTo>
                <a:cubicBezTo>
                  <a:pt x="6" y="159"/>
                  <a:pt x="5" y="159"/>
                  <a:pt x="4" y="1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79" name="Shape15_20200717_154412">
            <a:extLst>
              <a:ext uri="{FF2B5EF4-FFF2-40B4-BE49-F238E27FC236}">
                <a16:creationId xmlns:a16="http://schemas.microsoft.com/office/drawing/2014/main" id="{682F00D9-8BA7-ECD7-04E6-B270FC7ED91C}"/>
              </a:ext>
            </a:extLst>
          </p:cNvPr>
          <p:cNvGrpSpPr/>
          <p:nvPr/>
        </p:nvGrpSpPr>
        <p:grpSpPr>
          <a:xfrm>
            <a:off x="3318649" y="1324514"/>
            <a:ext cx="332475" cy="543466"/>
            <a:chOff x="-3780937" y="1076960"/>
            <a:chExt cx="294360" cy="481163"/>
          </a:xfrm>
          <a:solidFill>
            <a:schemeClr val="accent1"/>
          </a:solidFill>
        </p:grpSpPr>
        <p:sp>
          <p:nvSpPr>
            <p:cNvPr id="80" name="Freeform 167">
              <a:extLst>
                <a:ext uri="{FF2B5EF4-FFF2-40B4-BE49-F238E27FC236}">
                  <a16:creationId xmlns:a16="http://schemas.microsoft.com/office/drawing/2014/main" id="{A731C901-0FAE-E353-52A3-F4BD869C3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42247" y="1076960"/>
              <a:ext cx="16982" cy="481163"/>
            </a:xfrm>
            <a:custGeom>
              <a:avLst/>
              <a:gdLst>
                <a:gd name="T0" fmla="*/ 4 w 7"/>
                <a:gd name="T1" fmla="*/ 225 h 225"/>
                <a:gd name="T2" fmla="*/ 0 w 7"/>
                <a:gd name="T3" fmla="*/ 221 h 225"/>
                <a:gd name="T4" fmla="*/ 0 w 7"/>
                <a:gd name="T5" fmla="*/ 4 h 225"/>
                <a:gd name="T6" fmla="*/ 4 w 7"/>
                <a:gd name="T7" fmla="*/ 0 h 225"/>
                <a:gd name="T8" fmla="*/ 7 w 7"/>
                <a:gd name="T9" fmla="*/ 4 h 225"/>
                <a:gd name="T10" fmla="*/ 7 w 7"/>
                <a:gd name="T11" fmla="*/ 221 h 225"/>
                <a:gd name="T12" fmla="*/ 4 w 7"/>
                <a:gd name="T1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5">
                  <a:moveTo>
                    <a:pt x="4" y="225"/>
                  </a:move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221"/>
                    <a:pt x="7" y="221"/>
                    <a:pt x="7" y="221"/>
                  </a:cubicBezTo>
                  <a:cubicBezTo>
                    <a:pt x="7" y="223"/>
                    <a:pt x="6" y="225"/>
                    <a:pt x="4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168">
              <a:extLst>
                <a:ext uri="{FF2B5EF4-FFF2-40B4-BE49-F238E27FC236}">
                  <a16:creationId xmlns:a16="http://schemas.microsoft.com/office/drawing/2014/main" id="{8186AA55-63C9-7B05-5C90-E6D802B7D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0937" y="1076960"/>
              <a:ext cx="294360" cy="155671"/>
            </a:xfrm>
            <a:custGeom>
              <a:avLst/>
              <a:gdLst>
                <a:gd name="T0" fmla="*/ 4 w 138"/>
                <a:gd name="T1" fmla="*/ 73 h 73"/>
                <a:gd name="T2" fmla="*/ 1 w 138"/>
                <a:gd name="T3" fmla="*/ 72 h 73"/>
                <a:gd name="T4" fmla="*/ 1 w 138"/>
                <a:gd name="T5" fmla="*/ 66 h 73"/>
                <a:gd name="T6" fmla="*/ 66 w 138"/>
                <a:gd name="T7" fmla="*/ 2 h 73"/>
                <a:gd name="T8" fmla="*/ 69 w 138"/>
                <a:gd name="T9" fmla="*/ 0 h 73"/>
                <a:gd name="T10" fmla="*/ 69 w 138"/>
                <a:gd name="T11" fmla="*/ 0 h 73"/>
                <a:gd name="T12" fmla="*/ 71 w 138"/>
                <a:gd name="T13" fmla="*/ 2 h 73"/>
                <a:gd name="T14" fmla="*/ 136 w 138"/>
                <a:gd name="T15" fmla="*/ 66 h 73"/>
                <a:gd name="T16" fmla="*/ 136 w 138"/>
                <a:gd name="T17" fmla="*/ 72 h 73"/>
                <a:gd name="T18" fmla="*/ 131 w 138"/>
                <a:gd name="T19" fmla="*/ 72 h 73"/>
                <a:gd name="T20" fmla="*/ 69 w 138"/>
                <a:gd name="T21" fmla="*/ 9 h 73"/>
                <a:gd name="T22" fmla="*/ 6 w 138"/>
                <a:gd name="T23" fmla="*/ 72 h 73"/>
                <a:gd name="T24" fmla="*/ 4 w 13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73">
                  <a:moveTo>
                    <a:pt x="4" y="73"/>
                  </a:moveTo>
                  <a:cubicBezTo>
                    <a:pt x="3" y="73"/>
                    <a:pt x="2" y="72"/>
                    <a:pt x="1" y="72"/>
                  </a:cubicBezTo>
                  <a:cubicBezTo>
                    <a:pt x="0" y="70"/>
                    <a:pt x="0" y="68"/>
                    <a:pt x="1" y="66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7" y="1"/>
                    <a:pt x="68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0" y="0"/>
                    <a:pt x="71" y="1"/>
                    <a:pt x="71" y="2"/>
                  </a:cubicBezTo>
                  <a:cubicBezTo>
                    <a:pt x="136" y="66"/>
                    <a:pt x="136" y="66"/>
                    <a:pt x="136" y="66"/>
                  </a:cubicBezTo>
                  <a:cubicBezTo>
                    <a:pt x="138" y="68"/>
                    <a:pt x="138" y="70"/>
                    <a:pt x="136" y="72"/>
                  </a:cubicBezTo>
                  <a:cubicBezTo>
                    <a:pt x="135" y="73"/>
                    <a:pt x="133" y="73"/>
                    <a:pt x="131" y="72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72"/>
                    <a:pt x="5" y="73"/>
                    <a:pt x="4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2" name="Shape0_20200717_154412">
            <a:extLst>
              <a:ext uri="{FF2B5EF4-FFF2-40B4-BE49-F238E27FC236}">
                <a16:creationId xmlns:a16="http://schemas.microsoft.com/office/drawing/2014/main" id="{C42EE382-4F7A-F786-3469-2A12AC1A145D}"/>
              </a:ext>
            </a:extLst>
          </p:cNvPr>
          <p:cNvGrpSpPr/>
          <p:nvPr/>
        </p:nvGrpSpPr>
        <p:grpSpPr>
          <a:xfrm>
            <a:off x="4624205" y="1324514"/>
            <a:ext cx="332475" cy="543469"/>
            <a:chOff x="-2798794" y="1076960"/>
            <a:chExt cx="294360" cy="481165"/>
          </a:xfrm>
          <a:solidFill>
            <a:schemeClr val="accent1"/>
          </a:solidFill>
        </p:grpSpPr>
        <p:sp>
          <p:nvSpPr>
            <p:cNvPr id="83" name="Freeform 169">
              <a:extLst>
                <a:ext uri="{FF2B5EF4-FFF2-40B4-BE49-F238E27FC236}">
                  <a16:creationId xmlns:a16="http://schemas.microsoft.com/office/drawing/2014/main" id="{A89DCF64-850E-8029-D74B-F8F151FC1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60106" y="1076960"/>
              <a:ext cx="16982" cy="481163"/>
            </a:xfrm>
            <a:custGeom>
              <a:avLst/>
              <a:gdLst>
                <a:gd name="T0" fmla="*/ 4 w 8"/>
                <a:gd name="T1" fmla="*/ 225 h 225"/>
                <a:gd name="T2" fmla="*/ 0 w 8"/>
                <a:gd name="T3" fmla="*/ 221 h 225"/>
                <a:gd name="T4" fmla="*/ 0 w 8"/>
                <a:gd name="T5" fmla="*/ 4 h 225"/>
                <a:gd name="T6" fmla="*/ 4 w 8"/>
                <a:gd name="T7" fmla="*/ 0 h 225"/>
                <a:gd name="T8" fmla="*/ 8 w 8"/>
                <a:gd name="T9" fmla="*/ 4 h 225"/>
                <a:gd name="T10" fmla="*/ 8 w 8"/>
                <a:gd name="T11" fmla="*/ 221 h 225"/>
                <a:gd name="T12" fmla="*/ 4 w 8"/>
                <a:gd name="T1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5">
                  <a:moveTo>
                    <a:pt x="4" y="225"/>
                  </a:moveTo>
                  <a:cubicBezTo>
                    <a:pt x="2" y="225"/>
                    <a:pt x="0" y="223"/>
                    <a:pt x="0" y="2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1"/>
                    <a:pt x="8" y="221"/>
                    <a:pt x="8" y="221"/>
                  </a:cubicBezTo>
                  <a:cubicBezTo>
                    <a:pt x="8" y="223"/>
                    <a:pt x="6" y="225"/>
                    <a:pt x="4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170">
              <a:extLst>
                <a:ext uri="{FF2B5EF4-FFF2-40B4-BE49-F238E27FC236}">
                  <a16:creationId xmlns:a16="http://schemas.microsoft.com/office/drawing/2014/main" id="{DFF9C989-1ECA-BCB8-0FDF-9DA78433D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98794" y="1402454"/>
              <a:ext cx="294360" cy="155671"/>
            </a:xfrm>
            <a:custGeom>
              <a:avLst/>
              <a:gdLst>
                <a:gd name="T0" fmla="*/ 69 w 138"/>
                <a:gd name="T1" fmla="*/ 73 h 73"/>
                <a:gd name="T2" fmla="*/ 66 w 138"/>
                <a:gd name="T3" fmla="*/ 72 h 73"/>
                <a:gd name="T4" fmla="*/ 1 w 138"/>
                <a:gd name="T5" fmla="*/ 7 h 73"/>
                <a:gd name="T6" fmla="*/ 1 w 138"/>
                <a:gd name="T7" fmla="*/ 2 h 73"/>
                <a:gd name="T8" fmla="*/ 6 w 138"/>
                <a:gd name="T9" fmla="*/ 2 h 73"/>
                <a:gd name="T10" fmla="*/ 69 w 138"/>
                <a:gd name="T11" fmla="*/ 64 h 73"/>
                <a:gd name="T12" fmla="*/ 131 w 138"/>
                <a:gd name="T13" fmla="*/ 2 h 73"/>
                <a:gd name="T14" fmla="*/ 136 w 138"/>
                <a:gd name="T15" fmla="*/ 2 h 73"/>
                <a:gd name="T16" fmla="*/ 136 w 138"/>
                <a:gd name="T17" fmla="*/ 7 h 73"/>
                <a:gd name="T18" fmla="*/ 71 w 138"/>
                <a:gd name="T19" fmla="*/ 72 h 73"/>
                <a:gd name="T20" fmla="*/ 69 w 138"/>
                <a:gd name="T2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8" h="73">
                  <a:moveTo>
                    <a:pt x="69" y="73"/>
                  </a:moveTo>
                  <a:cubicBezTo>
                    <a:pt x="68" y="73"/>
                    <a:pt x="67" y="72"/>
                    <a:pt x="66" y="7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3" y="0"/>
                    <a:pt x="135" y="0"/>
                    <a:pt x="136" y="2"/>
                  </a:cubicBezTo>
                  <a:cubicBezTo>
                    <a:pt x="138" y="3"/>
                    <a:pt x="138" y="5"/>
                    <a:pt x="136" y="7"/>
                  </a:cubicBezTo>
                  <a:cubicBezTo>
                    <a:pt x="71" y="72"/>
                    <a:pt x="71" y="72"/>
                    <a:pt x="71" y="72"/>
                  </a:cubicBezTo>
                  <a:cubicBezTo>
                    <a:pt x="71" y="72"/>
                    <a:pt x="70" y="73"/>
                    <a:pt x="69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5" name="Shape16_20200717_154412">
            <a:extLst>
              <a:ext uri="{FF2B5EF4-FFF2-40B4-BE49-F238E27FC236}">
                <a16:creationId xmlns:a16="http://schemas.microsoft.com/office/drawing/2014/main" id="{DA458E72-8709-08CE-2FF3-6C19C15EB157}"/>
              </a:ext>
            </a:extLst>
          </p:cNvPr>
          <p:cNvGrpSpPr/>
          <p:nvPr/>
        </p:nvGrpSpPr>
        <p:grpSpPr>
          <a:xfrm>
            <a:off x="5900989" y="1392443"/>
            <a:ext cx="390018" cy="390017"/>
            <a:chOff x="-1842128" y="1144889"/>
            <a:chExt cx="345306" cy="345305"/>
          </a:xfrm>
          <a:solidFill>
            <a:schemeClr val="accent1"/>
          </a:solidFill>
        </p:grpSpPr>
        <p:sp>
          <p:nvSpPr>
            <p:cNvPr id="86" name="Freeform 171">
              <a:extLst>
                <a:ext uri="{FF2B5EF4-FFF2-40B4-BE49-F238E27FC236}">
                  <a16:creationId xmlns:a16="http://schemas.microsoft.com/office/drawing/2014/main" id="{D325BBD6-5B74-5201-E2C5-7A617B7A7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2128" y="1144889"/>
              <a:ext cx="345306" cy="345305"/>
            </a:xfrm>
            <a:custGeom>
              <a:avLst/>
              <a:gdLst>
                <a:gd name="T0" fmla="*/ 158 w 162"/>
                <a:gd name="T1" fmla="*/ 161 h 161"/>
                <a:gd name="T2" fmla="*/ 155 w 162"/>
                <a:gd name="T3" fmla="*/ 160 h 161"/>
                <a:gd name="T4" fmla="*/ 2 w 162"/>
                <a:gd name="T5" fmla="*/ 6 h 161"/>
                <a:gd name="T6" fmla="*/ 2 w 162"/>
                <a:gd name="T7" fmla="*/ 1 h 161"/>
                <a:gd name="T8" fmla="*/ 7 w 162"/>
                <a:gd name="T9" fmla="*/ 1 h 161"/>
                <a:gd name="T10" fmla="*/ 160 w 162"/>
                <a:gd name="T11" fmla="*/ 155 h 161"/>
                <a:gd name="T12" fmla="*/ 160 w 162"/>
                <a:gd name="T13" fmla="*/ 160 h 161"/>
                <a:gd name="T14" fmla="*/ 158 w 162"/>
                <a:gd name="T1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2" h="161">
                  <a:moveTo>
                    <a:pt x="158" y="161"/>
                  </a:moveTo>
                  <a:cubicBezTo>
                    <a:pt x="157" y="161"/>
                    <a:pt x="156" y="161"/>
                    <a:pt x="155" y="16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62" y="156"/>
                    <a:pt x="162" y="159"/>
                    <a:pt x="160" y="160"/>
                  </a:cubicBezTo>
                  <a:cubicBezTo>
                    <a:pt x="160" y="161"/>
                    <a:pt x="159" y="161"/>
                    <a:pt x="158" y="1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172">
              <a:extLst>
                <a:ext uri="{FF2B5EF4-FFF2-40B4-BE49-F238E27FC236}">
                  <a16:creationId xmlns:a16="http://schemas.microsoft.com/office/drawing/2014/main" id="{6CF3F4DC-F014-E6D5-9910-6D04ACC12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2128" y="1144889"/>
              <a:ext cx="212279" cy="212279"/>
            </a:xfrm>
            <a:custGeom>
              <a:avLst/>
              <a:gdLst>
                <a:gd name="T0" fmla="*/ 3 w 99"/>
                <a:gd name="T1" fmla="*/ 99 h 99"/>
                <a:gd name="T2" fmla="*/ 0 w 99"/>
                <a:gd name="T3" fmla="*/ 96 h 99"/>
                <a:gd name="T4" fmla="*/ 0 w 99"/>
                <a:gd name="T5" fmla="*/ 4 h 99"/>
                <a:gd name="T6" fmla="*/ 3 w 99"/>
                <a:gd name="T7" fmla="*/ 0 h 99"/>
                <a:gd name="T8" fmla="*/ 95 w 99"/>
                <a:gd name="T9" fmla="*/ 0 h 99"/>
                <a:gd name="T10" fmla="*/ 99 w 99"/>
                <a:gd name="T11" fmla="*/ 4 h 99"/>
                <a:gd name="T12" fmla="*/ 95 w 99"/>
                <a:gd name="T13" fmla="*/ 7 h 99"/>
                <a:gd name="T14" fmla="*/ 7 w 99"/>
                <a:gd name="T15" fmla="*/ 7 h 99"/>
                <a:gd name="T16" fmla="*/ 7 w 99"/>
                <a:gd name="T17" fmla="*/ 96 h 99"/>
                <a:gd name="T18" fmla="*/ 3 w 99"/>
                <a:gd name="T1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99">
                  <a:moveTo>
                    <a:pt x="3" y="99"/>
                  </a:moveTo>
                  <a:cubicBezTo>
                    <a:pt x="1" y="99"/>
                    <a:pt x="0" y="98"/>
                    <a:pt x="0" y="9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7" y="0"/>
                    <a:pt x="99" y="2"/>
                    <a:pt x="99" y="4"/>
                  </a:cubicBezTo>
                  <a:cubicBezTo>
                    <a:pt x="99" y="6"/>
                    <a:pt x="97" y="7"/>
                    <a:pt x="95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96"/>
                    <a:pt x="7" y="96"/>
                    <a:pt x="7" y="96"/>
                  </a:cubicBezTo>
                  <a:cubicBezTo>
                    <a:pt x="7" y="98"/>
                    <a:pt x="5" y="99"/>
                    <a:pt x="3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8" name="Shape17_20200717_154412">
            <a:extLst>
              <a:ext uri="{FF2B5EF4-FFF2-40B4-BE49-F238E27FC236}">
                <a16:creationId xmlns:a16="http://schemas.microsoft.com/office/drawing/2014/main" id="{5A49095B-D603-A0D3-9048-7397EF96EADA}"/>
              </a:ext>
            </a:extLst>
          </p:cNvPr>
          <p:cNvGrpSpPr/>
          <p:nvPr/>
        </p:nvGrpSpPr>
        <p:grpSpPr>
          <a:xfrm>
            <a:off x="7204947" y="1392443"/>
            <a:ext cx="393217" cy="390019"/>
            <a:chOff x="-862818" y="1144889"/>
            <a:chExt cx="348138" cy="345307"/>
          </a:xfrm>
          <a:solidFill>
            <a:schemeClr val="accent1"/>
          </a:solidFill>
        </p:grpSpPr>
        <p:sp>
          <p:nvSpPr>
            <p:cNvPr id="89" name="Freeform 173">
              <a:extLst>
                <a:ext uri="{FF2B5EF4-FFF2-40B4-BE49-F238E27FC236}">
                  <a16:creationId xmlns:a16="http://schemas.microsoft.com/office/drawing/2014/main" id="{D17931DE-F2B8-1BDB-6512-C6CB6D62B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2818" y="1144889"/>
              <a:ext cx="348138" cy="345305"/>
            </a:xfrm>
            <a:custGeom>
              <a:avLst/>
              <a:gdLst>
                <a:gd name="T0" fmla="*/ 158 w 162"/>
                <a:gd name="T1" fmla="*/ 161 h 161"/>
                <a:gd name="T2" fmla="*/ 155 w 162"/>
                <a:gd name="T3" fmla="*/ 160 h 161"/>
                <a:gd name="T4" fmla="*/ 2 w 162"/>
                <a:gd name="T5" fmla="*/ 6 h 161"/>
                <a:gd name="T6" fmla="*/ 2 w 162"/>
                <a:gd name="T7" fmla="*/ 1 h 161"/>
                <a:gd name="T8" fmla="*/ 7 w 162"/>
                <a:gd name="T9" fmla="*/ 1 h 161"/>
                <a:gd name="T10" fmla="*/ 160 w 162"/>
                <a:gd name="T11" fmla="*/ 155 h 161"/>
                <a:gd name="T12" fmla="*/ 160 w 162"/>
                <a:gd name="T13" fmla="*/ 160 h 161"/>
                <a:gd name="T14" fmla="*/ 158 w 162"/>
                <a:gd name="T1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2" h="161">
                  <a:moveTo>
                    <a:pt x="158" y="161"/>
                  </a:moveTo>
                  <a:cubicBezTo>
                    <a:pt x="157" y="161"/>
                    <a:pt x="156" y="161"/>
                    <a:pt x="155" y="16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62" y="156"/>
                    <a:pt x="162" y="159"/>
                    <a:pt x="160" y="160"/>
                  </a:cubicBezTo>
                  <a:cubicBezTo>
                    <a:pt x="160" y="161"/>
                    <a:pt x="159" y="161"/>
                    <a:pt x="158" y="1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id="{8603C6B5-21BA-EA83-ECD2-AC782DA47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9789" y="1277917"/>
              <a:ext cx="212279" cy="212279"/>
            </a:xfrm>
            <a:custGeom>
              <a:avLst/>
              <a:gdLst>
                <a:gd name="T0" fmla="*/ 96 w 99"/>
                <a:gd name="T1" fmla="*/ 99 h 99"/>
                <a:gd name="T2" fmla="*/ 4 w 99"/>
                <a:gd name="T3" fmla="*/ 99 h 99"/>
                <a:gd name="T4" fmla="*/ 0 w 99"/>
                <a:gd name="T5" fmla="*/ 95 h 99"/>
                <a:gd name="T6" fmla="*/ 4 w 99"/>
                <a:gd name="T7" fmla="*/ 92 h 99"/>
                <a:gd name="T8" fmla="*/ 92 w 99"/>
                <a:gd name="T9" fmla="*/ 92 h 99"/>
                <a:gd name="T10" fmla="*/ 92 w 99"/>
                <a:gd name="T11" fmla="*/ 3 h 99"/>
                <a:gd name="T12" fmla="*/ 96 w 99"/>
                <a:gd name="T13" fmla="*/ 0 h 99"/>
                <a:gd name="T14" fmla="*/ 99 w 99"/>
                <a:gd name="T15" fmla="*/ 3 h 99"/>
                <a:gd name="T16" fmla="*/ 99 w 99"/>
                <a:gd name="T17" fmla="*/ 95 h 99"/>
                <a:gd name="T18" fmla="*/ 96 w 99"/>
                <a:gd name="T1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99">
                  <a:moveTo>
                    <a:pt x="96" y="99"/>
                  </a:moveTo>
                  <a:cubicBezTo>
                    <a:pt x="4" y="99"/>
                    <a:pt x="4" y="99"/>
                    <a:pt x="4" y="99"/>
                  </a:cubicBezTo>
                  <a:cubicBezTo>
                    <a:pt x="2" y="99"/>
                    <a:pt x="0" y="97"/>
                    <a:pt x="0" y="95"/>
                  </a:cubicBezTo>
                  <a:cubicBezTo>
                    <a:pt x="0" y="93"/>
                    <a:pt x="2" y="92"/>
                    <a:pt x="4" y="92"/>
                  </a:cubicBezTo>
                  <a:cubicBezTo>
                    <a:pt x="92" y="92"/>
                    <a:pt x="92" y="92"/>
                    <a:pt x="92" y="92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1"/>
                    <a:pt x="94" y="0"/>
                    <a:pt x="96" y="0"/>
                  </a:cubicBezTo>
                  <a:cubicBezTo>
                    <a:pt x="98" y="0"/>
                    <a:pt x="99" y="1"/>
                    <a:pt x="99" y="3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9" y="97"/>
                    <a:pt x="98" y="99"/>
                    <a:pt x="96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1" name="Shape18_20200717_154412">
            <a:extLst>
              <a:ext uri="{FF2B5EF4-FFF2-40B4-BE49-F238E27FC236}">
                <a16:creationId xmlns:a16="http://schemas.microsoft.com/office/drawing/2014/main" id="{C0ABA03D-3645-8EAE-B482-BBF9D4932925}"/>
              </a:ext>
            </a:extLst>
          </p:cNvPr>
          <p:cNvGrpSpPr/>
          <p:nvPr/>
        </p:nvGrpSpPr>
        <p:grpSpPr>
          <a:xfrm>
            <a:off x="531709" y="3797087"/>
            <a:ext cx="684130" cy="687329"/>
            <a:chOff x="-5898061" y="4201695"/>
            <a:chExt cx="605701" cy="608533"/>
          </a:xfrm>
          <a:solidFill>
            <a:schemeClr val="accent1"/>
          </a:solidFill>
        </p:grpSpPr>
        <p:sp>
          <p:nvSpPr>
            <p:cNvPr id="92" name="Freeform 175">
              <a:extLst>
                <a:ext uri="{FF2B5EF4-FFF2-40B4-BE49-F238E27FC236}">
                  <a16:creationId xmlns:a16="http://schemas.microsoft.com/office/drawing/2014/main" id="{8B178063-F5F4-421B-E2F1-269C064C9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2203" y="4498885"/>
              <a:ext cx="333985" cy="14153"/>
            </a:xfrm>
            <a:custGeom>
              <a:avLst/>
              <a:gdLst>
                <a:gd name="T0" fmla="*/ 152 w 156"/>
                <a:gd name="T1" fmla="*/ 7 h 7"/>
                <a:gd name="T2" fmla="*/ 3 w 156"/>
                <a:gd name="T3" fmla="*/ 7 h 7"/>
                <a:gd name="T4" fmla="*/ 0 w 156"/>
                <a:gd name="T5" fmla="*/ 3 h 7"/>
                <a:gd name="T6" fmla="*/ 3 w 156"/>
                <a:gd name="T7" fmla="*/ 0 h 7"/>
                <a:gd name="T8" fmla="*/ 152 w 156"/>
                <a:gd name="T9" fmla="*/ 0 h 7"/>
                <a:gd name="T10" fmla="*/ 156 w 156"/>
                <a:gd name="T11" fmla="*/ 3 h 7"/>
                <a:gd name="T12" fmla="*/ 152 w 15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">
                  <a:moveTo>
                    <a:pt x="15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5"/>
                    <a:pt x="154" y="7"/>
                    <a:pt x="15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176">
              <a:extLst>
                <a:ext uri="{FF2B5EF4-FFF2-40B4-BE49-F238E27FC236}">
                  <a16:creationId xmlns:a16="http://schemas.microsoft.com/office/drawing/2014/main" id="{864429E5-EE0E-1AB8-7D84-1FB89D64F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5030" y="4402654"/>
              <a:ext cx="113215" cy="203787"/>
            </a:xfrm>
            <a:custGeom>
              <a:avLst/>
              <a:gdLst>
                <a:gd name="T0" fmla="*/ 49 w 53"/>
                <a:gd name="T1" fmla="*/ 96 h 96"/>
                <a:gd name="T2" fmla="*/ 46 w 53"/>
                <a:gd name="T3" fmla="*/ 95 h 96"/>
                <a:gd name="T4" fmla="*/ 2 w 53"/>
                <a:gd name="T5" fmla="*/ 51 h 96"/>
                <a:gd name="T6" fmla="*/ 2 w 53"/>
                <a:gd name="T7" fmla="*/ 46 h 96"/>
                <a:gd name="T8" fmla="*/ 46 w 53"/>
                <a:gd name="T9" fmla="*/ 1 h 96"/>
                <a:gd name="T10" fmla="*/ 51 w 53"/>
                <a:gd name="T11" fmla="*/ 1 h 96"/>
                <a:gd name="T12" fmla="*/ 51 w 53"/>
                <a:gd name="T13" fmla="*/ 6 h 96"/>
                <a:gd name="T14" fmla="*/ 9 w 53"/>
                <a:gd name="T15" fmla="*/ 48 h 96"/>
                <a:gd name="T16" fmla="*/ 51 w 53"/>
                <a:gd name="T17" fmla="*/ 90 h 96"/>
                <a:gd name="T18" fmla="*/ 51 w 53"/>
                <a:gd name="T19" fmla="*/ 95 h 96"/>
                <a:gd name="T20" fmla="*/ 49 w 53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96">
                  <a:moveTo>
                    <a:pt x="49" y="96"/>
                  </a:moveTo>
                  <a:cubicBezTo>
                    <a:pt x="48" y="96"/>
                    <a:pt x="47" y="96"/>
                    <a:pt x="46" y="9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0"/>
                    <a:pt x="0" y="47"/>
                    <a:pt x="2" y="46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0" y="0"/>
                    <a:pt x="51" y="1"/>
                  </a:cubicBezTo>
                  <a:cubicBezTo>
                    <a:pt x="53" y="3"/>
                    <a:pt x="53" y="5"/>
                    <a:pt x="51" y="6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3" y="92"/>
                    <a:pt x="53" y="94"/>
                    <a:pt x="51" y="95"/>
                  </a:cubicBezTo>
                  <a:cubicBezTo>
                    <a:pt x="51" y="96"/>
                    <a:pt x="50" y="96"/>
                    <a:pt x="49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177">
              <a:extLst>
                <a:ext uri="{FF2B5EF4-FFF2-40B4-BE49-F238E27FC236}">
                  <a16:creationId xmlns:a16="http://schemas.microsoft.com/office/drawing/2014/main" id="{13D467EB-FA0A-E7F6-932E-C25DF93703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98061" y="4201695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5" name="Shape19_20200717_154412">
            <a:extLst>
              <a:ext uri="{FF2B5EF4-FFF2-40B4-BE49-F238E27FC236}">
                <a16:creationId xmlns:a16="http://schemas.microsoft.com/office/drawing/2014/main" id="{5245B7D6-A64B-EC7E-8352-BD36FF73FB62}"/>
              </a:ext>
            </a:extLst>
          </p:cNvPr>
          <p:cNvGrpSpPr/>
          <p:nvPr/>
        </p:nvGrpSpPr>
        <p:grpSpPr>
          <a:xfrm>
            <a:off x="1837265" y="3797087"/>
            <a:ext cx="684130" cy="687329"/>
            <a:chOff x="-4915918" y="4201695"/>
            <a:chExt cx="605701" cy="608533"/>
          </a:xfrm>
          <a:solidFill>
            <a:schemeClr val="accent1"/>
          </a:solidFill>
        </p:grpSpPr>
        <p:sp>
          <p:nvSpPr>
            <p:cNvPr id="96" name="Freeform 178">
              <a:extLst>
                <a:ext uri="{FF2B5EF4-FFF2-40B4-BE49-F238E27FC236}">
                  <a16:creationId xmlns:a16="http://schemas.microsoft.com/office/drawing/2014/main" id="{A9244320-79E4-7C75-5478-01DB28EEB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80060" y="4498885"/>
              <a:ext cx="331155" cy="14153"/>
            </a:xfrm>
            <a:custGeom>
              <a:avLst/>
              <a:gdLst>
                <a:gd name="T0" fmla="*/ 152 w 156"/>
                <a:gd name="T1" fmla="*/ 7 h 7"/>
                <a:gd name="T2" fmla="*/ 3 w 156"/>
                <a:gd name="T3" fmla="*/ 7 h 7"/>
                <a:gd name="T4" fmla="*/ 0 w 156"/>
                <a:gd name="T5" fmla="*/ 3 h 7"/>
                <a:gd name="T6" fmla="*/ 3 w 156"/>
                <a:gd name="T7" fmla="*/ 0 h 7"/>
                <a:gd name="T8" fmla="*/ 152 w 156"/>
                <a:gd name="T9" fmla="*/ 0 h 7"/>
                <a:gd name="T10" fmla="*/ 156 w 156"/>
                <a:gd name="T11" fmla="*/ 3 h 7"/>
                <a:gd name="T12" fmla="*/ 152 w 15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">
                  <a:moveTo>
                    <a:pt x="15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5"/>
                    <a:pt x="154" y="7"/>
                    <a:pt x="15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179">
              <a:extLst>
                <a:ext uri="{FF2B5EF4-FFF2-40B4-BE49-F238E27FC236}">
                  <a16:creationId xmlns:a16="http://schemas.microsoft.com/office/drawing/2014/main" id="{E927EFC0-F760-721D-7D60-33C52160F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9290" y="4402654"/>
              <a:ext cx="110386" cy="203787"/>
            </a:xfrm>
            <a:custGeom>
              <a:avLst/>
              <a:gdLst>
                <a:gd name="T0" fmla="*/ 4 w 52"/>
                <a:gd name="T1" fmla="*/ 96 h 96"/>
                <a:gd name="T2" fmla="*/ 1 w 52"/>
                <a:gd name="T3" fmla="*/ 95 h 96"/>
                <a:gd name="T4" fmla="*/ 1 w 52"/>
                <a:gd name="T5" fmla="*/ 90 h 96"/>
                <a:gd name="T6" fmla="*/ 43 w 52"/>
                <a:gd name="T7" fmla="*/ 48 h 96"/>
                <a:gd name="T8" fmla="*/ 1 w 52"/>
                <a:gd name="T9" fmla="*/ 6 h 96"/>
                <a:gd name="T10" fmla="*/ 1 w 52"/>
                <a:gd name="T11" fmla="*/ 1 h 96"/>
                <a:gd name="T12" fmla="*/ 6 w 52"/>
                <a:gd name="T13" fmla="*/ 1 h 96"/>
                <a:gd name="T14" fmla="*/ 51 w 52"/>
                <a:gd name="T15" fmla="*/ 46 h 96"/>
                <a:gd name="T16" fmla="*/ 51 w 52"/>
                <a:gd name="T17" fmla="*/ 51 h 96"/>
                <a:gd name="T18" fmla="*/ 6 w 52"/>
                <a:gd name="T19" fmla="*/ 95 h 96"/>
                <a:gd name="T20" fmla="*/ 4 w 52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96">
                  <a:moveTo>
                    <a:pt x="4" y="96"/>
                  </a:moveTo>
                  <a:cubicBezTo>
                    <a:pt x="3" y="96"/>
                    <a:pt x="2" y="96"/>
                    <a:pt x="1" y="95"/>
                  </a:cubicBezTo>
                  <a:cubicBezTo>
                    <a:pt x="0" y="94"/>
                    <a:pt x="0" y="92"/>
                    <a:pt x="1" y="90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2" y="47"/>
                    <a:pt x="52" y="50"/>
                    <a:pt x="51" y="51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6" y="96"/>
                    <a:pt x="5" y="96"/>
                    <a:pt x="4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180">
              <a:extLst>
                <a:ext uri="{FF2B5EF4-FFF2-40B4-BE49-F238E27FC236}">
                  <a16:creationId xmlns:a16="http://schemas.microsoft.com/office/drawing/2014/main" id="{DF4AC29C-30CC-F303-9CE2-3A57CB5ADC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15918" y="4201695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9" name="Shape20_20200717_154412">
            <a:extLst>
              <a:ext uri="{FF2B5EF4-FFF2-40B4-BE49-F238E27FC236}">
                <a16:creationId xmlns:a16="http://schemas.microsoft.com/office/drawing/2014/main" id="{0BD6E946-22BB-1351-0EB5-D2B9AA164AA7}"/>
              </a:ext>
            </a:extLst>
          </p:cNvPr>
          <p:cNvGrpSpPr/>
          <p:nvPr/>
        </p:nvGrpSpPr>
        <p:grpSpPr>
          <a:xfrm>
            <a:off x="3142821" y="3797090"/>
            <a:ext cx="684130" cy="687329"/>
            <a:chOff x="-3936607" y="4201698"/>
            <a:chExt cx="605701" cy="608533"/>
          </a:xfrm>
          <a:solidFill>
            <a:schemeClr val="accent1"/>
          </a:solidFill>
        </p:grpSpPr>
        <p:sp>
          <p:nvSpPr>
            <p:cNvPr id="100" name="Freeform 181">
              <a:extLst>
                <a:ext uri="{FF2B5EF4-FFF2-40B4-BE49-F238E27FC236}">
                  <a16:creationId xmlns:a16="http://schemas.microsoft.com/office/drawing/2014/main" id="{8F57F2E3-70BA-E472-C5F7-82B8AA58D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42247" y="4337553"/>
              <a:ext cx="16982" cy="333986"/>
            </a:xfrm>
            <a:custGeom>
              <a:avLst/>
              <a:gdLst>
                <a:gd name="T0" fmla="*/ 4 w 7"/>
                <a:gd name="T1" fmla="*/ 156 h 156"/>
                <a:gd name="T2" fmla="*/ 0 w 7"/>
                <a:gd name="T3" fmla="*/ 153 h 156"/>
                <a:gd name="T4" fmla="*/ 0 w 7"/>
                <a:gd name="T5" fmla="*/ 4 h 156"/>
                <a:gd name="T6" fmla="*/ 4 w 7"/>
                <a:gd name="T7" fmla="*/ 0 h 156"/>
                <a:gd name="T8" fmla="*/ 7 w 7"/>
                <a:gd name="T9" fmla="*/ 4 h 156"/>
                <a:gd name="T10" fmla="*/ 7 w 7"/>
                <a:gd name="T11" fmla="*/ 153 h 156"/>
                <a:gd name="T12" fmla="*/ 4 w 7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6">
                  <a:moveTo>
                    <a:pt x="4" y="156"/>
                  </a:moveTo>
                  <a:cubicBezTo>
                    <a:pt x="2" y="156"/>
                    <a:pt x="0" y="155"/>
                    <a:pt x="0" y="1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7" y="155"/>
                    <a:pt x="6" y="156"/>
                    <a:pt x="4" y="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182">
              <a:extLst>
                <a:ext uri="{FF2B5EF4-FFF2-40B4-BE49-F238E27FC236}">
                  <a16:creationId xmlns:a16="http://schemas.microsoft.com/office/drawing/2014/main" id="{C7688C0F-5C73-F71B-FB14-0F3948556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38480" y="4337553"/>
              <a:ext cx="209448" cy="110385"/>
            </a:xfrm>
            <a:custGeom>
              <a:avLst/>
              <a:gdLst>
                <a:gd name="T0" fmla="*/ 93 w 97"/>
                <a:gd name="T1" fmla="*/ 52 h 52"/>
                <a:gd name="T2" fmla="*/ 91 w 97"/>
                <a:gd name="T3" fmla="*/ 51 h 52"/>
                <a:gd name="T4" fmla="*/ 49 w 97"/>
                <a:gd name="T5" fmla="*/ 9 h 52"/>
                <a:gd name="T6" fmla="*/ 7 w 97"/>
                <a:gd name="T7" fmla="*/ 51 h 52"/>
                <a:gd name="T8" fmla="*/ 2 w 97"/>
                <a:gd name="T9" fmla="*/ 51 h 52"/>
                <a:gd name="T10" fmla="*/ 2 w 97"/>
                <a:gd name="T11" fmla="*/ 46 h 52"/>
                <a:gd name="T12" fmla="*/ 46 w 97"/>
                <a:gd name="T13" fmla="*/ 1 h 52"/>
                <a:gd name="T14" fmla="*/ 51 w 97"/>
                <a:gd name="T15" fmla="*/ 1 h 52"/>
                <a:gd name="T16" fmla="*/ 96 w 97"/>
                <a:gd name="T17" fmla="*/ 46 h 52"/>
                <a:gd name="T18" fmla="*/ 96 w 97"/>
                <a:gd name="T19" fmla="*/ 51 h 52"/>
                <a:gd name="T20" fmla="*/ 93 w 97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52">
                  <a:moveTo>
                    <a:pt x="93" y="52"/>
                  </a:moveTo>
                  <a:cubicBezTo>
                    <a:pt x="92" y="52"/>
                    <a:pt x="92" y="52"/>
                    <a:pt x="91" y="51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2"/>
                    <a:pt x="3" y="52"/>
                    <a:pt x="2" y="51"/>
                  </a:cubicBezTo>
                  <a:cubicBezTo>
                    <a:pt x="0" y="50"/>
                    <a:pt x="0" y="47"/>
                    <a:pt x="2" y="46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0" y="0"/>
                    <a:pt x="51" y="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7"/>
                    <a:pt x="97" y="50"/>
                    <a:pt x="96" y="51"/>
                  </a:cubicBezTo>
                  <a:cubicBezTo>
                    <a:pt x="95" y="52"/>
                    <a:pt x="94" y="52"/>
                    <a:pt x="93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183">
              <a:extLst>
                <a:ext uri="{FF2B5EF4-FFF2-40B4-BE49-F238E27FC236}">
                  <a16:creationId xmlns:a16="http://schemas.microsoft.com/office/drawing/2014/main" id="{29714C98-DE3E-2D57-0AC7-1765D1F999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936607" y="4201698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3" name="Shape21_20200717_154412">
            <a:extLst>
              <a:ext uri="{FF2B5EF4-FFF2-40B4-BE49-F238E27FC236}">
                <a16:creationId xmlns:a16="http://schemas.microsoft.com/office/drawing/2014/main" id="{FFB4384E-D41A-4DDA-5B6C-B26E827F6D7D}"/>
              </a:ext>
            </a:extLst>
          </p:cNvPr>
          <p:cNvGrpSpPr/>
          <p:nvPr/>
        </p:nvGrpSpPr>
        <p:grpSpPr>
          <a:xfrm>
            <a:off x="4448377" y="3797088"/>
            <a:ext cx="684130" cy="687329"/>
            <a:chOff x="-2954468" y="4201696"/>
            <a:chExt cx="605701" cy="608533"/>
          </a:xfrm>
          <a:solidFill>
            <a:schemeClr val="accent1"/>
          </a:solidFill>
        </p:grpSpPr>
        <p:sp>
          <p:nvSpPr>
            <p:cNvPr id="104" name="Freeform 184">
              <a:extLst>
                <a:ext uri="{FF2B5EF4-FFF2-40B4-BE49-F238E27FC236}">
                  <a16:creationId xmlns:a16="http://schemas.microsoft.com/office/drawing/2014/main" id="{9E81B7B1-9714-6C4F-1104-8A0BE91E5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60106" y="4337556"/>
              <a:ext cx="16982" cy="333986"/>
            </a:xfrm>
            <a:custGeom>
              <a:avLst/>
              <a:gdLst>
                <a:gd name="T0" fmla="*/ 4 w 8"/>
                <a:gd name="T1" fmla="*/ 156 h 156"/>
                <a:gd name="T2" fmla="*/ 0 w 8"/>
                <a:gd name="T3" fmla="*/ 153 h 156"/>
                <a:gd name="T4" fmla="*/ 0 w 8"/>
                <a:gd name="T5" fmla="*/ 4 h 156"/>
                <a:gd name="T6" fmla="*/ 4 w 8"/>
                <a:gd name="T7" fmla="*/ 0 h 156"/>
                <a:gd name="T8" fmla="*/ 8 w 8"/>
                <a:gd name="T9" fmla="*/ 4 h 156"/>
                <a:gd name="T10" fmla="*/ 8 w 8"/>
                <a:gd name="T11" fmla="*/ 153 h 156"/>
                <a:gd name="T12" fmla="*/ 4 w 8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56">
                  <a:moveTo>
                    <a:pt x="4" y="156"/>
                  </a:moveTo>
                  <a:cubicBezTo>
                    <a:pt x="2" y="156"/>
                    <a:pt x="0" y="155"/>
                    <a:pt x="0" y="1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53"/>
                    <a:pt x="8" y="153"/>
                    <a:pt x="8" y="153"/>
                  </a:cubicBezTo>
                  <a:cubicBezTo>
                    <a:pt x="8" y="155"/>
                    <a:pt x="6" y="156"/>
                    <a:pt x="4" y="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85">
              <a:extLst>
                <a:ext uri="{FF2B5EF4-FFF2-40B4-BE49-F238E27FC236}">
                  <a16:creationId xmlns:a16="http://schemas.microsoft.com/office/drawing/2014/main" id="{541C50DC-7FE4-E2AA-E79F-C904AA282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6339" y="4561156"/>
              <a:ext cx="206619" cy="110385"/>
            </a:xfrm>
            <a:custGeom>
              <a:avLst/>
              <a:gdLst>
                <a:gd name="T0" fmla="*/ 49 w 97"/>
                <a:gd name="T1" fmla="*/ 52 h 52"/>
                <a:gd name="T2" fmla="*/ 46 w 97"/>
                <a:gd name="T3" fmla="*/ 51 h 52"/>
                <a:gd name="T4" fmla="*/ 2 w 97"/>
                <a:gd name="T5" fmla="*/ 7 h 52"/>
                <a:gd name="T6" fmla="*/ 2 w 97"/>
                <a:gd name="T7" fmla="*/ 2 h 52"/>
                <a:gd name="T8" fmla="*/ 7 w 97"/>
                <a:gd name="T9" fmla="*/ 2 h 52"/>
                <a:gd name="T10" fmla="*/ 49 w 97"/>
                <a:gd name="T11" fmla="*/ 44 h 52"/>
                <a:gd name="T12" fmla="*/ 91 w 97"/>
                <a:gd name="T13" fmla="*/ 2 h 52"/>
                <a:gd name="T14" fmla="*/ 96 w 97"/>
                <a:gd name="T15" fmla="*/ 2 h 52"/>
                <a:gd name="T16" fmla="*/ 96 w 97"/>
                <a:gd name="T17" fmla="*/ 7 h 52"/>
                <a:gd name="T18" fmla="*/ 51 w 97"/>
                <a:gd name="T19" fmla="*/ 51 h 52"/>
                <a:gd name="T20" fmla="*/ 49 w 97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52">
                  <a:moveTo>
                    <a:pt x="49" y="52"/>
                  </a:moveTo>
                  <a:cubicBezTo>
                    <a:pt x="48" y="52"/>
                    <a:pt x="47" y="52"/>
                    <a:pt x="46" y="5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2" y="0"/>
                    <a:pt x="95" y="0"/>
                    <a:pt x="96" y="2"/>
                  </a:cubicBezTo>
                  <a:cubicBezTo>
                    <a:pt x="97" y="3"/>
                    <a:pt x="97" y="5"/>
                    <a:pt x="96" y="7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52"/>
                    <a:pt x="50" y="52"/>
                    <a:pt x="49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86">
              <a:extLst>
                <a:ext uri="{FF2B5EF4-FFF2-40B4-BE49-F238E27FC236}">
                  <a16:creationId xmlns:a16="http://schemas.microsoft.com/office/drawing/2014/main" id="{2F81BB75-D4CE-5257-5864-FA8DC69A40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54468" y="4201696"/>
              <a:ext cx="605701" cy="608533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3" y="285"/>
                    <a:pt x="0" y="221"/>
                    <a:pt x="0" y="142"/>
                  </a:cubicBez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7" name="Shape22_20200717_154412">
            <a:extLst>
              <a:ext uri="{FF2B5EF4-FFF2-40B4-BE49-F238E27FC236}">
                <a16:creationId xmlns:a16="http://schemas.microsoft.com/office/drawing/2014/main" id="{0B9876DB-A210-FF69-95DF-7E233CB56B33}"/>
              </a:ext>
            </a:extLst>
          </p:cNvPr>
          <p:cNvGrpSpPr/>
          <p:nvPr/>
        </p:nvGrpSpPr>
        <p:grpSpPr>
          <a:xfrm>
            <a:off x="5753933" y="3797083"/>
            <a:ext cx="684130" cy="687326"/>
            <a:chOff x="-1972325" y="4201691"/>
            <a:chExt cx="605701" cy="608531"/>
          </a:xfrm>
          <a:solidFill>
            <a:schemeClr val="accent1"/>
          </a:solidFill>
        </p:grpSpPr>
        <p:sp>
          <p:nvSpPr>
            <p:cNvPr id="108" name="Freeform 187">
              <a:extLst>
                <a:ext uri="{FF2B5EF4-FFF2-40B4-BE49-F238E27FC236}">
                  <a16:creationId xmlns:a16="http://schemas.microsoft.com/office/drawing/2014/main" id="{240EEAF8-C945-4E65-958B-C14A0F4D83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51555" y="4368689"/>
              <a:ext cx="212279" cy="274549"/>
            </a:xfrm>
            <a:custGeom>
              <a:avLst/>
              <a:gdLst>
                <a:gd name="T0" fmla="*/ 3 w 99"/>
                <a:gd name="T1" fmla="*/ 129 h 129"/>
                <a:gd name="T2" fmla="*/ 2 w 99"/>
                <a:gd name="T3" fmla="*/ 128 h 129"/>
                <a:gd name="T4" fmla="*/ 0 w 99"/>
                <a:gd name="T5" fmla="*/ 125 h 129"/>
                <a:gd name="T6" fmla="*/ 0 w 99"/>
                <a:gd name="T7" fmla="*/ 4 h 129"/>
                <a:gd name="T8" fmla="*/ 2 w 99"/>
                <a:gd name="T9" fmla="*/ 1 h 129"/>
                <a:gd name="T10" fmla="*/ 5 w 99"/>
                <a:gd name="T11" fmla="*/ 1 h 129"/>
                <a:gd name="T12" fmla="*/ 98 w 99"/>
                <a:gd name="T13" fmla="*/ 61 h 129"/>
                <a:gd name="T14" fmla="*/ 99 w 99"/>
                <a:gd name="T15" fmla="*/ 64 h 129"/>
                <a:gd name="T16" fmla="*/ 98 w 99"/>
                <a:gd name="T17" fmla="*/ 67 h 129"/>
                <a:gd name="T18" fmla="*/ 5 w 99"/>
                <a:gd name="T19" fmla="*/ 128 h 129"/>
                <a:gd name="T20" fmla="*/ 3 w 99"/>
                <a:gd name="T21" fmla="*/ 129 h 129"/>
                <a:gd name="T22" fmla="*/ 7 w 99"/>
                <a:gd name="T23" fmla="*/ 10 h 129"/>
                <a:gd name="T24" fmla="*/ 7 w 99"/>
                <a:gd name="T25" fmla="*/ 118 h 129"/>
                <a:gd name="T26" fmla="*/ 89 w 99"/>
                <a:gd name="T27" fmla="*/ 64 h 129"/>
                <a:gd name="T28" fmla="*/ 7 w 99"/>
                <a:gd name="T29" fmla="*/ 1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29">
                  <a:moveTo>
                    <a:pt x="3" y="129"/>
                  </a:moveTo>
                  <a:cubicBezTo>
                    <a:pt x="3" y="129"/>
                    <a:pt x="2" y="128"/>
                    <a:pt x="2" y="128"/>
                  </a:cubicBezTo>
                  <a:cubicBezTo>
                    <a:pt x="1" y="128"/>
                    <a:pt x="0" y="126"/>
                    <a:pt x="0" y="1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9" y="62"/>
                    <a:pt x="99" y="63"/>
                    <a:pt x="99" y="64"/>
                  </a:cubicBezTo>
                  <a:cubicBezTo>
                    <a:pt x="99" y="66"/>
                    <a:pt x="99" y="67"/>
                    <a:pt x="98" y="6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4" y="129"/>
                    <a:pt x="3" y="129"/>
                  </a:cubicBezTo>
                  <a:close/>
                  <a:moveTo>
                    <a:pt x="7" y="10"/>
                  </a:moveTo>
                  <a:cubicBezTo>
                    <a:pt x="7" y="118"/>
                    <a:pt x="7" y="118"/>
                    <a:pt x="7" y="118"/>
                  </a:cubicBezTo>
                  <a:cubicBezTo>
                    <a:pt x="89" y="64"/>
                    <a:pt x="89" y="64"/>
                    <a:pt x="89" y="64"/>
                  </a:cubicBezTo>
                  <a:lnTo>
                    <a:pt x="7" y="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188">
              <a:extLst>
                <a:ext uri="{FF2B5EF4-FFF2-40B4-BE49-F238E27FC236}">
                  <a16:creationId xmlns:a16="http://schemas.microsoft.com/office/drawing/2014/main" id="{7CECBD6A-46E9-BCF7-A3FA-61FD105FB6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72325" y="4201691"/>
              <a:ext cx="605701" cy="608531"/>
            </a:xfrm>
            <a:custGeom>
              <a:avLst/>
              <a:gdLst>
                <a:gd name="T0" fmla="*/ 142 w 284"/>
                <a:gd name="T1" fmla="*/ 285 h 285"/>
                <a:gd name="T2" fmla="*/ 0 w 284"/>
                <a:gd name="T3" fmla="*/ 142 h 285"/>
                <a:gd name="T4" fmla="*/ 142 w 284"/>
                <a:gd name="T5" fmla="*/ 0 h 285"/>
                <a:gd name="T6" fmla="*/ 284 w 284"/>
                <a:gd name="T7" fmla="*/ 142 h 285"/>
                <a:gd name="T8" fmla="*/ 142 w 284"/>
                <a:gd name="T9" fmla="*/ 285 h 285"/>
                <a:gd name="T10" fmla="*/ 142 w 284"/>
                <a:gd name="T11" fmla="*/ 7 h 285"/>
                <a:gd name="T12" fmla="*/ 7 w 284"/>
                <a:gd name="T13" fmla="*/ 142 h 285"/>
                <a:gd name="T14" fmla="*/ 142 w 284"/>
                <a:gd name="T15" fmla="*/ 277 h 285"/>
                <a:gd name="T16" fmla="*/ 277 w 284"/>
                <a:gd name="T17" fmla="*/ 142 h 285"/>
                <a:gd name="T18" fmla="*/ 142 w 284"/>
                <a:gd name="T19" fmla="*/ 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5">
                  <a:moveTo>
                    <a:pt x="142" y="285"/>
                  </a:moveTo>
                  <a:cubicBezTo>
                    <a:pt x="64" y="285"/>
                    <a:pt x="0" y="221"/>
                    <a:pt x="0" y="142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cubicBezTo>
                    <a:pt x="284" y="221"/>
                    <a:pt x="220" y="285"/>
                    <a:pt x="142" y="285"/>
                  </a:cubicBezTo>
                  <a:close/>
                  <a:moveTo>
                    <a:pt x="142" y="7"/>
                  </a:moveTo>
                  <a:cubicBezTo>
                    <a:pt x="67" y="7"/>
                    <a:pt x="7" y="68"/>
                    <a:pt x="7" y="142"/>
                  </a:cubicBezTo>
                  <a:cubicBezTo>
                    <a:pt x="7" y="217"/>
                    <a:pt x="67" y="277"/>
                    <a:pt x="142" y="277"/>
                  </a:cubicBezTo>
                  <a:cubicBezTo>
                    <a:pt x="216" y="277"/>
                    <a:pt x="277" y="217"/>
                    <a:pt x="277" y="142"/>
                  </a:cubicBezTo>
                  <a:cubicBezTo>
                    <a:pt x="277" y="68"/>
                    <a:pt x="216" y="7"/>
                    <a:pt x="14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0" name="Shape23_20200717_154412">
            <a:extLst>
              <a:ext uri="{FF2B5EF4-FFF2-40B4-BE49-F238E27FC236}">
                <a16:creationId xmlns:a16="http://schemas.microsoft.com/office/drawing/2014/main" id="{03B171F8-05B1-BF4B-B2DB-8C406A32A8F3}"/>
              </a:ext>
            </a:extLst>
          </p:cNvPr>
          <p:cNvGrpSpPr/>
          <p:nvPr/>
        </p:nvGrpSpPr>
        <p:grpSpPr>
          <a:xfrm>
            <a:off x="7019531" y="3835747"/>
            <a:ext cx="764049" cy="597823"/>
            <a:chOff x="-1026978" y="4241307"/>
            <a:chExt cx="676458" cy="529288"/>
          </a:xfrm>
          <a:solidFill>
            <a:schemeClr val="accent1"/>
          </a:solidFill>
        </p:grpSpPr>
        <p:sp>
          <p:nvSpPr>
            <p:cNvPr id="111" name="Freeform 189">
              <a:extLst>
                <a:ext uri="{FF2B5EF4-FFF2-40B4-BE49-F238E27FC236}">
                  <a16:creationId xmlns:a16="http://schemas.microsoft.com/office/drawing/2014/main" id="{9899C968-7496-F22A-941E-7C07185F4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1664" y="4496050"/>
              <a:ext cx="181144" cy="110385"/>
            </a:xfrm>
            <a:custGeom>
              <a:avLst/>
              <a:gdLst>
                <a:gd name="T0" fmla="*/ 82 w 86"/>
                <a:gd name="T1" fmla="*/ 51 h 51"/>
                <a:gd name="T2" fmla="*/ 79 w 86"/>
                <a:gd name="T3" fmla="*/ 49 h 51"/>
                <a:gd name="T4" fmla="*/ 46 w 86"/>
                <a:gd name="T5" fmla="*/ 9 h 51"/>
                <a:gd name="T6" fmla="*/ 7 w 86"/>
                <a:gd name="T7" fmla="*/ 42 h 51"/>
                <a:gd name="T8" fmla="*/ 2 w 86"/>
                <a:gd name="T9" fmla="*/ 41 h 51"/>
                <a:gd name="T10" fmla="*/ 2 w 86"/>
                <a:gd name="T11" fmla="*/ 36 h 51"/>
                <a:gd name="T12" fmla="*/ 45 w 86"/>
                <a:gd name="T13" fmla="*/ 2 h 51"/>
                <a:gd name="T14" fmla="*/ 50 w 86"/>
                <a:gd name="T15" fmla="*/ 2 h 51"/>
                <a:gd name="T16" fmla="*/ 84 w 86"/>
                <a:gd name="T17" fmla="*/ 45 h 51"/>
                <a:gd name="T18" fmla="*/ 84 w 86"/>
                <a:gd name="T19" fmla="*/ 50 h 51"/>
                <a:gd name="T20" fmla="*/ 82 w 86"/>
                <a:gd name="T2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51">
                  <a:moveTo>
                    <a:pt x="82" y="51"/>
                  </a:moveTo>
                  <a:cubicBezTo>
                    <a:pt x="81" y="51"/>
                    <a:pt x="80" y="50"/>
                    <a:pt x="79" y="4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5" y="43"/>
                    <a:pt x="3" y="43"/>
                    <a:pt x="2" y="41"/>
                  </a:cubicBezTo>
                  <a:cubicBezTo>
                    <a:pt x="0" y="40"/>
                    <a:pt x="1" y="38"/>
                    <a:pt x="2" y="3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6" y="0"/>
                    <a:pt x="48" y="1"/>
                    <a:pt x="50" y="2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6" y="46"/>
                    <a:pt x="85" y="49"/>
                    <a:pt x="84" y="50"/>
                  </a:cubicBezTo>
                  <a:cubicBezTo>
                    <a:pt x="83" y="50"/>
                    <a:pt x="82" y="51"/>
                    <a:pt x="82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190">
              <a:extLst>
                <a:ext uri="{FF2B5EF4-FFF2-40B4-BE49-F238E27FC236}">
                  <a16:creationId xmlns:a16="http://schemas.microsoft.com/office/drawing/2014/main" id="{BA54CA99-247F-46FC-9B26-1E121C3E1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978" y="4405478"/>
              <a:ext cx="181144" cy="107554"/>
            </a:xfrm>
            <a:custGeom>
              <a:avLst/>
              <a:gdLst>
                <a:gd name="T0" fmla="*/ 39 w 86"/>
                <a:gd name="T1" fmla="*/ 50 h 50"/>
                <a:gd name="T2" fmla="*/ 36 w 86"/>
                <a:gd name="T3" fmla="*/ 49 h 50"/>
                <a:gd name="T4" fmla="*/ 1 w 86"/>
                <a:gd name="T5" fmla="*/ 6 h 50"/>
                <a:gd name="T6" fmla="*/ 2 w 86"/>
                <a:gd name="T7" fmla="*/ 1 h 50"/>
                <a:gd name="T8" fmla="*/ 7 w 86"/>
                <a:gd name="T9" fmla="*/ 2 h 50"/>
                <a:gd name="T10" fmla="*/ 40 w 86"/>
                <a:gd name="T11" fmla="*/ 42 h 50"/>
                <a:gd name="T12" fmla="*/ 79 w 86"/>
                <a:gd name="T13" fmla="*/ 9 h 50"/>
                <a:gd name="T14" fmla="*/ 84 w 86"/>
                <a:gd name="T15" fmla="*/ 10 h 50"/>
                <a:gd name="T16" fmla="*/ 84 w 86"/>
                <a:gd name="T17" fmla="*/ 15 h 50"/>
                <a:gd name="T18" fmla="*/ 41 w 86"/>
                <a:gd name="T19" fmla="*/ 49 h 50"/>
                <a:gd name="T20" fmla="*/ 39 w 86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50">
                  <a:moveTo>
                    <a:pt x="39" y="50"/>
                  </a:moveTo>
                  <a:cubicBezTo>
                    <a:pt x="38" y="50"/>
                    <a:pt x="37" y="50"/>
                    <a:pt x="36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81" y="8"/>
                    <a:pt x="83" y="8"/>
                    <a:pt x="84" y="10"/>
                  </a:cubicBezTo>
                  <a:cubicBezTo>
                    <a:pt x="86" y="11"/>
                    <a:pt x="85" y="13"/>
                    <a:pt x="84" y="15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50"/>
                    <a:pt x="40" y="50"/>
                    <a:pt x="39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91">
              <a:extLst>
                <a:ext uri="{FF2B5EF4-FFF2-40B4-BE49-F238E27FC236}">
                  <a16:creationId xmlns:a16="http://schemas.microsoft.com/office/drawing/2014/main" id="{BA0D8C85-58FB-7572-1042-A536B0460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425" y="4498879"/>
              <a:ext cx="492486" cy="271716"/>
            </a:xfrm>
            <a:custGeom>
              <a:avLst/>
              <a:gdLst>
                <a:gd name="T0" fmla="*/ 108 w 231"/>
                <a:gd name="T1" fmla="*/ 127 h 127"/>
                <a:gd name="T2" fmla="*/ 1 w 231"/>
                <a:gd name="T3" fmla="*/ 65 h 127"/>
                <a:gd name="T4" fmla="*/ 2 w 231"/>
                <a:gd name="T5" fmla="*/ 60 h 127"/>
                <a:gd name="T6" fmla="*/ 7 w 231"/>
                <a:gd name="T7" fmla="*/ 62 h 127"/>
                <a:gd name="T8" fmla="*/ 108 w 231"/>
                <a:gd name="T9" fmla="*/ 120 h 127"/>
                <a:gd name="T10" fmla="*/ 224 w 231"/>
                <a:gd name="T11" fmla="*/ 3 h 127"/>
                <a:gd name="T12" fmla="*/ 228 w 231"/>
                <a:gd name="T13" fmla="*/ 0 h 127"/>
                <a:gd name="T14" fmla="*/ 231 w 231"/>
                <a:gd name="T15" fmla="*/ 3 h 127"/>
                <a:gd name="T16" fmla="*/ 108 w 231"/>
                <a:gd name="T1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127">
                  <a:moveTo>
                    <a:pt x="108" y="127"/>
                  </a:moveTo>
                  <a:cubicBezTo>
                    <a:pt x="64" y="127"/>
                    <a:pt x="23" y="103"/>
                    <a:pt x="1" y="65"/>
                  </a:cubicBezTo>
                  <a:cubicBezTo>
                    <a:pt x="0" y="63"/>
                    <a:pt x="1" y="61"/>
                    <a:pt x="2" y="60"/>
                  </a:cubicBezTo>
                  <a:cubicBezTo>
                    <a:pt x="4" y="59"/>
                    <a:pt x="6" y="60"/>
                    <a:pt x="7" y="62"/>
                  </a:cubicBezTo>
                  <a:cubicBezTo>
                    <a:pt x="28" y="97"/>
                    <a:pt x="67" y="120"/>
                    <a:pt x="108" y="120"/>
                  </a:cubicBezTo>
                  <a:cubicBezTo>
                    <a:pt x="172" y="120"/>
                    <a:pt x="224" y="68"/>
                    <a:pt x="224" y="3"/>
                  </a:cubicBezTo>
                  <a:cubicBezTo>
                    <a:pt x="224" y="1"/>
                    <a:pt x="226" y="0"/>
                    <a:pt x="228" y="0"/>
                  </a:cubicBezTo>
                  <a:cubicBezTo>
                    <a:pt x="230" y="0"/>
                    <a:pt x="231" y="1"/>
                    <a:pt x="231" y="3"/>
                  </a:cubicBezTo>
                  <a:cubicBezTo>
                    <a:pt x="231" y="71"/>
                    <a:pt x="176" y="127"/>
                    <a:pt x="108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92">
              <a:extLst>
                <a:ext uri="{FF2B5EF4-FFF2-40B4-BE49-F238E27FC236}">
                  <a16:creationId xmlns:a16="http://schemas.microsoft.com/office/drawing/2014/main" id="{2BC6481D-605A-0130-0677-C34371240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3386" y="4241307"/>
              <a:ext cx="498147" cy="271716"/>
            </a:xfrm>
            <a:custGeom>
              <a:avLst/>
              <a:gdLst>
                <a:gd name="T0" fmla="*/ 4 w 233"/>
                <a:gd name="T1" fmla="*/ 127 h 127"/>
                <a:gd name="T2" fmla="*/ 0 w 233"/>
                <a:gd name="T3" fmla="*/ 123 h 127"/>
                <a:gd name="T4" fmla="*/ 124 w 233"/>
                <a:gd name="T5" fmla="*/ 0 h 127"/>
                <a:gd name="T6" fmla="*/ 232 w 233"/>
                <a:gd name="T7" fmla="*/ 64 h 127"/>
                <a:gd name="T8" fmla="*/ 231 w 233"/>
                <a:gd name="T9" fmla="*/ 69 h 127"/>
                <a:gd name="T10" fmla="*/ 226 w 233"/>
                <a:gd name="T11" fmla="*/ 67 h 127"/>
                <a:gd name="T12" fmla="*/ 124 w 233"/>
                <a:gd name="T13" fmla="*/ 7 h 127"/>
                <a:gd name="T14" fmla="*/ 8 w 233"/>
                <a:gd name="T15" fmla="*/ 123 h 127"/>
                <a:gd name="T16" fmla="*/ 4 w 233"/>
                <a:gd name="T1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3" h="127">
                  <a:moveTo>
                    <a:pt x="4" y="127"/>
                  </a:moveTo>
                  <a:cubicBezTo>
                    <a:pt x="2" y="127"/>
                    <a:pt x="0" y="125"/>
                    <a:pt x="0" y="123"/>
                  </a:cubicBezTo>
                  <a:cubicBezTo>
                    <a:pt x="0" y="55"/>
                    <a:pt x="56" y="0"/>
                    <a:pt x="124" y="0"/>
                  </a:cubicBezTo>
                  <a:cubicBezTo>
                    <a:pt x="169" y="0"/>
                    <a:pt x="211" y="24"/>
                    <a:pt x="232" y="64"/>
                  </a:cubicBezTo>
                  <a:cubicBezTo>
                    <a:pt x="233" y="66"/>
                    <a:pt x="233" y="68"/>
                    <a:pt x="231" y="69"/>
                  </a:cubicBezTo>
                  <a:cubicBezTo>
                    <a:pt x="229" y="70"/>
                    <a:pt x="227" y="69"/>
                    <a:pt x="226" y="67"/>
                  </a:cubicBezTo>
                  <a:cubicBezTo>
                    <a:pt x="205" y="30"/>
                    <a:pt x="166" y="7"/>
                    <a:pt x="124" y="7"/>
                  </a:cubicBezTo>
                  <a:cubicBezTo>
                    <a:pt x="60" y="7"/>
                    <a:pt x="8" y="59"/>
                    <a:pt x="8" y="123"/>
                  </a:cubicBezTo>
                  <a:cubicBezTo>
                    <a:pt x="8" y="125"/>
                    <a:pt x="6" y="127"/>
                    <a:pt x="4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AB47F540-A0A5-BC25-3CF8-010EE70FB7FA}"/>
              </a:ext>
            </a:extLst>
          </p:cNvPr>
          <p:cNvGrpSpPr/>
          <p:nvPr/>
        </p:nvGrpSpPr>
        <p:grpSpPr>
          <a:xfrm>
            <a:off x="8410713" y="3838260"/>
            <a:ext cx="592797" cy="592797"/>
            <a:chOff x="8401060" y="3486224"/>
            <a:chExt cx="592797" cy="592797"/>
          </a:xfrm>
          <a:solidFill>
            <a:schemeClr val="accent1"/>
          </a:solidFill>
        </p:grpSpPr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D6203DE-6036-15CA-FB16-7823E11D81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01060" y="3486224"/>
              <a:ext cx="592797" cy="592797"/>
            </a:xfrm>
            <a:custGeom>
              <a:avLst/>
              <a:gdLst>
                <a:gd name="connsiteX0" fmla="*/ 2470657 w 4941025"/>
                <a:gd name="connsiteY0" fmla="*/ 8328 h 4941025"/>
                <a:gd name="connsiteX1" fmla="*/ 729529 w 4941025"/>
                <a:gd name="connsiteY1" fmla="*/ 729529 h 4941025"/>
                <a:gd name="connsiteX2" fmla="*/ 8328 w 4941025"/>
                <a:gd name="connsiteY2" fmla="*/ 2470657 h 4941025"/>
                <a:gd name="connsiteX3" fmla="*/ 729529 w 4941025"/>
                <a:gd name="connsiteY3" fmla="*/ 4211786 h 4941025"/>
                <a:gd name="connsiteX4" fmla="*/ 2470657 w 4941025"/>
                <a:gd name="connsiteY4" fmla="*/ 4932987 h 4941025"/>
                <a:gd name="connsiteX5" fmla="*/ 4211786 w 4941025"/>
                <a:gd name="connsiteY5" fmla="*/ 4211786 h 4941025"/>
                <a:gd name="connsiteX6" fmla="*/ 4932987 w 4941025"/>
                <a:gd name="connsiteY6" fmla="*/ 2470657 h 4941025"/>
                <a:gd name="connsiteX7" fmla="*/ 4209965 w 4941025"/>
                <a:gd name="connsiteY7" fmla="*/ 731416 h 4941025"/>
                <a:gd name="connsiteX8" fmla="*/ 2470724 w 4941025"/>
                <a:gd name="connsiteY8" fmla="*/ 8394 h 4941025"/>
                <a:gd name="connsiteX9" fmla="*/ 2470657 w 4941025"/>
                <a:gd name="connsiteY9" fmla="*/ 4684204 h 4941025"/>
                <a:gd name="connsiteX10" fmla="*/ 905407 w 4941025"/>
                <a:gd name="connsiteY10" fmla="*/ 4035863 h 4941025"/>
                <a:gd name="connsiteX11" fmla="*/ 257067 w 4941025"/>
                <a:gd name="connsiteY11" fmla="*/ 2470613 h 4941025"/>
                <a:gd name="connsiteX12" fmla="*/ 905407 w 4941025"/>
                <a:gd name="connsiteY12" fmla="*/ 905362 h 4941025"/>
                <a:gd name="connsiteX13" fmla="*/ 2470657 w 4941025"/>
                <a:gd name="connsiteY13" fmla="*/ 257022 h 4941025"/>
                <a:gd name="connsiteX14" fmla="*/ 4035908 w 4941025"/>
                <a:gd name="connsiteY14" fmla="*/ 905362 h 4941025"/>
                <a:gd name="connsiteX15" fmla="*/ 4684248 w 4941025"/>
                <a:gd name="connsiteY15" fmla="*/ 2470613 h 4941025"/>
                <a:gd name="connsiteX16" fmla="*/ 4034087 w 4941025"/>
                <a:gd name="connsiteY16" fmla="*/ 4033976 h 4941025"/>
                <a:gd name="connsiteX17" fmla="*/ 2470724 w 4941025"/>
                <a:gd name="connsiteY17" fmla="*/ 4684137 h 494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41025" h="4941025">
                  <a:moveTo>
                    <a:pt x="2470657" y="8328"/>
                  </a:moveTo>
                  <a:cubicBezTo>
                    <a:pt x="1817642" y="8328"/>
                    <a:pt x="1191320" y="267781"/>
                    <a:pt x="729529" y="729529"/>
                  </a:cubicBezTo>
                  <a:cubicBezTo>
                    <a:pt x="267781" y="1191320"/>
                    <a:pt x="8328" y="1817620"/>
                    <a:pt x="8328" y="2470657"/>
                  </a:cubicBezTo>
                  <a:cubicBezTo>
                    <a:pt x="8328" y="3123694"/>
                    <a:pt x="267781" y="3749994"/>
                    <a:pt x="729529" y="4211786"/>
                  </a:cubicBezTo>
                  <a:cubicBezTo>
                    <a:pt x="1191320" y="4673533"/>
                    <a:pt x="1817620" y="4932987"/>
                    <a:pt x="2470657" y="4932987"/>
                  </a:cubicBezTo>
                  <a:cubicBezTo>
                    <a:pt x="3123694" y="4932987"/>
                    <a:pt x="3749994" y="4673533"/>
                    <a:pt x="4211786" y="4211786"/>
                  </a:cubicBezTo>
                  <a:cubicBezTo>
                    <a:pt x="4673533" y="3749994"/>
                    <a:pt x="4932987" y="3123694"/>
                    <a:pt x="4932987" y="2470657"/>
                  </a:cubicBezTo>
                  <a:cubicBezTo>
                    <a:pt x="4931339" y="1818109"/>
                    <a:pt x="4671368" y="1192764"/>
                    <a:pt x="4209965" y="731416"/>
                  </a:cubicBezTo>
                  <a:cubicBezTo>
                    <a:pt x="3748562" y="270013"/>
                    <a:pt x="3123217" y="10037"/>
                    <a:pt x="2470724" y="8394"/>
                  </a:cubicBezTo>
                  <a:close/>
                  <a:moveTo>
                    <a:pt x="2470657" y="4684204"/>
                  </a:moveTo>
                  <a:cubicBezTo>
                    <a:pt x="1883563" y="4684204"/>
                    <a:pt x="1320564" y="4450987"/>
                    <a:pt x="905407" y="4035863"/>
                  </a:cubicBezTo>
                  <a:cubicBezTo>
                    <a:pt x="490250" y="3620739"/>
                    <a:pt x="257067" y="3057718"/>
                    <a:pt x="257067" y="2470613"/>
                  </a:cubicBezTo>
                  <a:cubicBezTo>
                    <a:pt x="257067" y="1883508"/>
                    <a:pt x="490283" y="1320520"/>
                    <a:pt x="905407" y="905362"/>
                  </a:cubicBezTo>
                  <a:cubicBezTo>
                    <a:pt x="1320531" y="490205"/>
                    <a:pt x="1883552" y="257022"/>
                    <a:pt x="2470657" y="257022"/>
                  </a:cubicBezTo>
                  <a:cubicBezTo>
                    <a:pt x="3057762" y="257022"/>
                    <a:pt x="3620750" y="490239"/>
                    <a:pt x="4035908" y="905362"/>
                  </a:cubicBezTo>
                  <a:cubicBezTo>
                    <a:pt x="4451065" y="1320486"/>
                    <a:pt x="4684248" y="1883508"/>
                    <a:pt x="4684248" y="2470613"/>
                  </a:cubicBezTo>
                  <a:cubicBezTo>
                    <a:pt x="4682600" y="3057185"/>
                    <a:pt x="4448866" y="3619263"/>
                    <a:pt x="4034087" y="4033976"/>
                  </a:cubicBezTo>
                  <a:cubicBezTo>
                    <a:pt x="3619318" y="4448744"/>
                    <a:pt x="3057240" y="4682483"/>
                    <a:pt x="2470724" y="46841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2F44581-98FE-7840-26AF-66195AD556DE}"/>
                </a:ext>
              </a:extLst>
            </p:cNvPr>
            <p:cNvSpPr/>
            <p:nvPr/>
          </p:nvSpPr>
          <p:spPr>
            <a:xfrm>
              <a:off x="8559214" y="3685408"/>
              <a:ext cx="279747" cy="190494"/>
            </a:xfrm>
            <a:custGeom>
              <a:avLst/>
              <a:gdLst>
                <a:gd name="connsiteX0" fmla="*/ 853965 w 2331720"/>
                <a:gd name="connsiteY0" fmla="*/ 1239465 h 1587790"/>
                <a:gd name="connsiteX1" fmla="*/ 188625 w 2331720"/>
                <a:gd name="connsiteY1" fmla="*/ 555471 h 1587790"/>
                <a:gd name="connsiteX2" fmla="*/ 8328 w 2331720"/>
                <a:gd name="connsiteY2" fmla="*/ 729573 h 1587790"/>
                <a:gd name="connsiteX3" fmla="*/ 841518 w 2331720"/>
                <a:gd name="connsiteY3" fmla="*/ 1587657 h 1587790"/>
                <a:gd name="connsiteX4" fmla="*/ 2327601 w 2331720"/>
                <a:gd name="connsiteY4" fmla="*/ 188625 h 1587790"/>
                <a:gd name="connsiteX5" fmla="*/ 2159706 w 2331720"/>
                <a:gd name="connsiteY5" fmla="*/ 8328 h 158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1720" h="1587790">
                  <a:moveTo>
                    <a:pt x="853965" y="1239465"/>
                  </a:moveTo>
                  <a:lnTo>
                    <a:pt x="188625" y="555471"/>
                  </a:lnTo>
                  <a:lnTo>
                    <a:pt x="8328" y="729573"/>
                  </a:lnTo>
                  <a:lnTo>
                    <a:pt x="841518" y="1587657"/>
                  </a:lnTo>
                  <a:lnTo>
                    <a:pt x="2327601" y="188625"/>
                  </a:lnTo>
                  <a:lnTo>
                    <a:pt x="2159706" y="83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C1FC870-90C0-3F45-8912-7057517DFDDA}"/>
              </a:ext>
            </a:extLst>
          </p:cNvPr>
          <p:cNvGrpSpPr>
            <a:grpSpLocks noChangeAspect="1"/>
          </p:cNvGrpSpPr>
          <p:nvPr/>
        </p:nvGrpSpPr>
        <p:grpSpPr>
          <a:xfrm>
            <a:off x="9716271" y="3838260"/>
            <a:ext cx="592797" cy="592797"/>
            <a:chOff x="3948956" y="596176"/>
            <a:chExt cx="4291149" cy="4291149"/>
          </a:xfrm>
          <a:solidFill>
            <a:schemeClr val="accent1"/>
          </a:solidFill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B21FB03-E1D0-15A5-D900-B484EF93E5F0}"/>
                </a:ext>
              </a:extLst>
            </p:cNvPr>
            <p:cNvSpPr/>
            <p:nvPr/>
          </p:nvSpPr>
          <p:spPr>
            <a:xfrm>
              <a:off x="3948956" y="596176"/>
              <a:ext cx="4291149" cy="4291149"/>
            </a:xfrm>
            <a:custGeom>
              <a:avLst/>
              <a:gdLst>
                <a:gd name="connsiteX0" fmla="*/ 2147044 w 4291148"/>
                <a:gd name="connsiteY0" fmla="*/ 7348 h 4291148"/>
                <a:gd name="connsiteX1" fmla="*/ 7348 w 4291148"/>
                <a:gd name="connsiteY1" fmla="*/ 2147044 h 4291148"/>
                <a:gd name="connsiteX2" fmla="*/ 2147044 w 4291148"/>
                <a:gd name="connsiteY2" fmla="*/ 4286740 h 4291148"/>
                <a:gd name="connsiteX3" fmla="*/ 4286740 w 4291148"/>
                <a:gd name="connsiteY3" fmla="*/ 2147044 h 4291148"/>
                <a:gd name="connsiteX4" fmla="*/ 2147044 w 4291148"/>
                <a:gd name="connsiteY4" fmla="*/ 7348 h 4291148"/>
                <a:gd name="connsiteX5" fmla="*/ 2147044 w 4291148"/>
                <a:gd name="connsiteY5" fmla="*/ 4067284 h 4291148"/>
                <a:gd name="connsiteX6" fmla="*/ 226804 w 4291148"/>
                <a:gd name="connsiteY6" fmla="*/ 2147044 h 4291148"/>
                <a:gd name="connsiteX7" fmla="*/ 2147044 w 4291148"/>
                <a:gd name="connsiteY7" fmla="*/ 226804 h 4291148"/>
                <a:gd name="connsiteX8" fmla="*/ 4067284 w 4291148"/>
                <a:gd name="connsiteY8" fmla="*/ 2147044 h 4291148"/>
                <a:gd name="connsiteX9" fmla="*/ 2147044 w 4291148"/>
                <a:gd name="connsiteY9" fmla="*/ 4067284 h 429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1148" h="4291148">
                  <a:moveTo>
                    <a:pt x="2147044" y="7348"/>
                  </a:moveTo>
                  <a:cubicBezTo>
                    <a:pt x="967468" y="7348"/>
                    <a:pt x="7348" y="967468"/>
                    <a:pt x="7348" y="2147044"/>
                  </a:cubicBezTo>
                  <a:cubicBezTo>
                    <a:pt x="7348" y="3326620"/>
                    <a:pt x="967468" y="4286740"/>
                    <a:pt x="2147044" y="4286740"/>
                  </a:cubicBezTo>
                  <a:cubicBezTo>
                    <a:pt x="3326620" y="4286740"/>
                    <a:pt x="4286740" y="3326620"/>
                    <a:pt x="4286740" y="2147044"/>
                  </a:cubicBezTo>
                  <a:cubicBezTo>
                    <a:pt x="4286740" y="967468"/>
                    <a:pt x="3326620" y="7348"/>
                    <a:pt x="2147044" y="7348"/>
                  </a:cubicBezTo>
                  <a:close/>
                  <a:moveTo>
                    <a:pt x="2147044" y="4067284"/>
                  </a:moveTo>
                  <a:cubicBezTo>
                    <a:pt x="1088169" y="4067284"/>
                    <a:pt x="226804" y="3205899"/>
                    <a:pt x="226804" y="2147044"/>
                  </a:cubicBezTo>
                  <a:cubicBezTo>
                    <a:pt x="226804" y="1088188"/>
                    <a:pt x="1088188" y="226804"/>
                    <a:pt x="2147044" y="226804"/>
                  </a:cubicBezTo>
                  <a:cubicBezTo>
                    <a:pt x="3205900" y="226804"/>
                    <a:pt x="4067284" y="1088188"/>
                    <a:pt x="4067284" y="2147044"/>
                  </a:cubicBezTo>
                  <a:cubicBezTo>
                    <a:pt x="4067284" y="3205899"/>
                    <a:pt x="3205900" y="4067284"/>
                    <a:pt x="2147044" y="40672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CDAC2EB-1137-61A9-0533-8F0E14616FC3}"/>
                </a:ext>
              </a:extLst>
            </p:cNvPr>
            <p:cNvSpPr/>
            <p:nvPr/>
          </p:nvSpPr>
          <p:spPr>
            <a:xfrm>
              <a:off x="5358144" y="2005324"/>
              <a:ext cx="1469571" cy="1469571"/>
            </a:xfrm>
            <a:custGeom>
              <a:avLst/>
              <a:gdLst>
                <a:gd name="connsiteX0" fmla="*/ 1436295 w 1469571"/>
                <a:gd name="connsiteY0" fmla="*/ 39437 h 1469571"/>
                <a:gd name="connsiteX1" fmla="*/ 1281029 w 1469571"/>
                <a:gd name="connsiteY1" fmla="*/ 39437 h 1469571"/>
                <a:gd name="connsiteX2" fmla="*/ 737866 w 1469571"/>
                <a:gd name="connsiteY2" fmla="*/ 582601 h 1469571"/>
                <a:gd name="connsiteX3" fmla="*/ 194703 w 1469571"/>
                <a:gd name="connsiteY3" fmla="*/ 39437 h 1469571"/>
                <a:gd name="connsiteX4" fmla="*/ 39438 w 1469571"/>
                <a:gd name="connsiteY4" fmla="*/ 39437 h 1469571"/>
                <a:gd name="connsiteX5" fmla="*/ 39438 w 1469571"/>
                <a:gd name="connsiteY5" fmla="*/ 194702 h 1469571"/>
                <a:gd name="connsiteX6" fmla="*/ 582601 w 1469571"/>
                <a:gd name="connsiteY6" fmla="*/ 737866 h 1469571"/>
                <a:gd name="connsiteX7" fmla="*/ 39438 w 1469571"/>
                <a:gd name="connsiteY7" fmla="*/ 1281029 h 1469571"/>
                <a:gd name="connsiteX8" fmla="*/ 39438 w 1469571"/>
                <a:gd name="connsiteY8" fmla="*/ 1436294 h 1469571"/>
                <a:gd name="connsiteX9" fmla="*/ 116781 w 1469571"/>
                <a:gd name="connsiteY9" fmla="*/ 1468671 h 1469571"/>
                <a:gd name="connsiteX10" fmla="*/ 194125 w 1469571"/>
                <a:gd name="connsiteY10" fmla="*/ 1436294 h 1469571"/>
                <a:gd name="connsiteX11" fmla="*/ 737288 w 1469571"/>
                <a:gd name="connsiteY11" fmla="*/ 893131 h 1469571"/>
                <a:gd name="connsiteX12" fmla="*/ 1280451 w 1469571"/>
                <a:gd name="connsiteY12" fmla="*/ 1436294 h 1469571"/>
                <a:gd name="connsiteX13" fmla="*/ 1357795 w 1469571"/>
                <a:gd name="connsiteY13" fmla="*/ 1468671 h 1469571"/>
                <a:gd name="connsiteX14" fmla="*/ 1435139 w 1469571"/>
                <a:gd name="connsiteY14" fmla="*/ 1436294 h 1469571"/>
                <a:gd name="connsiteX15" fmla="*/ 1435139 w 1469571"/>
                <a:gd name="connsiteY15" fmla="*/ 1281029 h 1469571"/>
                <a:gd name="connsiteX16" fmla="*/ 891975 w 1469571"/>
                <a:gd name="connsiteY16" fmla="*/ 737866 h 1469571"/>
                <a:gd name="connsiteX17" fmla="*/ 1435139 w 1469571"/>
                <a:gd name="connsiteY17" fmla="*/ 194702 h 1469571"/>
                <a:gd name="connsiteX18" fmla="*/ 1436287 w 1469571"/>
                <a:gd name="connsiteY18" fmla="*/ 39437 h 146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69571" h="1469571">
                  <a:moveTo>
                    <a:pt x="1436295" y="39437"/>
                  </a:moveTo>
                  <a:cubicBezTo>
                    <a:pt x="1393508" y="-3349"/>
                    <a:pt x="1323823" y="-3349"/>
                    <a:pt x="1281029" y="39437"/>
                  </a:cubicBezTo>
                  <a:lnTo>
                    <a:pt x="737866" y="582601"/>
                  </a:lnTo>
                  <a:lnTo>
                    <a:pt x="194703" y="39437"/>
                  </a:lnTo>
                  <a:cubicBezTo>
                    <a:pt x="151917" y="-3349"/>
                    <a:pt x="82231" y="-3349"/>
                    <a:pt x="39438" y="39437"/>
                  </a:cubicBezTo>
                  <a:cubicBezTo>
                    <a:pt x="-3349" y="82223"/>
                    <a:pt x="-3349" y="151909"/>
                    <a:pt x="39438" y="194702"/>
                  </a:cubicBezTo>
                  <a:lnTo>
                    <a:pt x="582601" y="737866"/>
                  </a:lnTo>
                  <a:lnTo>
                    <a:pt x="39438" y="1281029"/>
                  </a:lnTo>
                  <a:cubicBezTo>
                    <a:pt x="-3349" y="1323815"/>
                    <a:pt x="-3349" y="1393501"/>
                    <a:pt x="39438" y="1436294"/>
                  </a:cubicBezTo>
                  <a:cubicBezTo>
                    <a:pt x="60831" y="1457687"/>
                    <a:pt x="88806" y="1468671"/>
                    <a:pt x="116781" y="1468671"/>
                  </a:cubicBezTo>
                  <a:cubicBezTo>
                    <a:pt x="144756" y="1468671"/>
                    <a:pt x="172732" y="1457687"/>
                    <a:pt x="194125" y="1436294"/>
                  </a:cubicBezTo>
                  <a:lnTo>
                    <a:pt x="737288" y="893131"/>
                  </a:lnTo>
                  <a:lnTo>
                    <a:pt x="1280451" y="1436294"/>
                  </a:lnTo>
                  <a:cubicBezTo>
                    <a:pt x="1301844" y="1457687"/>
                    <a:pt x="1329820" y="1468671"/>
                    <a:pt x="1357795" y="1468671"/>
                  </a:cubicBezTo>
                  <a:cubicBezTo>
                    <a:pt x="1385771" y="1468671"/>
                    <a:pt x="1413746" y="1457687"/>
                    <a:pt x="1435139" y="1436294"/>
                  </a:cubicBezTo>
                  <a:cubicBezTo>
                    <a:pt x="1477925" y="1393508"/>
                    <a:pt x="1477925" y="1323823"/>
                    <a:pt x="1435139" y="1281029"/>
                  </a:cubicBezTo>
                  <a:lnTo>
                    <a:pt x="891975" y="737866"/>
                  </a:lnTo>
                  <a:lnTo>
                    <a:pt x="1435139" y="194702"/>
                  </a:lnTo>
                  <a:cubicBezTo>
                    <a:pt x="1479073" y="151916"/>
                    <a:pt x="1479073" y="82231"/>
                    <a:pt x="1436287" y="394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B11E3BDD-02B9-3E5C-8B8B-5EB07D97F68B}"/>
              </a:ext>
            </a:extLst>
          </p:cNvPr>
          <p:cNvSpPr>
            <a:spLocks noChangeAspect="1"/>
          </p:cNvSpPr>
          <p:nvPr/>
        </p:nvSpPr>
        <p:spPr>
          <a:xfrm>
            <a:off x="11021827" y="3838260"/>
            <a:ext cx="592797" cy="592797"/>
          </a:xfrm>
          <a:custGeom>
            <a:avLst/>
            <a:gdLst>
              <a:gd name="connsiteX0" fmla="*/ 1975104 w 3950207"/>
              <a:gd name="connsiteY0" fmla="*/ 0 h 3950207"/>
              <a:gd name="connsiteX1" fmla="*/ 0 w 3950207"/>
              <a:gd name="connsiteY1" fmla="*/ 1975104 h 3950207"/>
              <a:gd name="connsiteX2" fmla="*/ 1975104 w 3950207"/>
              <a:gd name="connsiteY2" fmla="*/ 3950208 h 3950207"/>
              <a:gd name="connsiteX3" fmla="*/ 3950208 w 3950207"/>
              <a:gd name="connsiteY3" fmla="*/ 1975104 h 3950207"/>
              <a:gd name="connsiteX4" fmla="*/ 1975104 w 3950207"/>
              <a:gd name="connsiteY4" fmla="*/ 0 h 3950207"/>
              <a:gd name="connsiteX5" fmla="*/ 1975104 w 3950207"/>
              <a:gd name="connsiteY5" fmla="*/ 219476 h 3950207"/>
              <a:gd name="connsiteX6" fmla="*/ 3730752 w 3950207"/>
              <a:gd name="connsiteY6" fmla="*/ 1975124 h 3950207"/>
              <a:gd name="connsiteX7" fmla="*/ 1975104 w 3950207"/>
              <a:gd name="connsiteY7" fmla="*/ 3730772 h 3950207"/>
              <a:gd name="connsiteX8" fmla="*/ 219456 w 3950207"/>
              <a:gd name="connsiteY8" fmla="*/ 1975124 h 3950207"/>
              <a:gd name="connsiteX9" fmla="*/ 1975104 w 3950207"/>
              <a:gd name="connsiteY9" fmla="*/ 219476 h 3950207"/>
              <a:gd name="connsiteX10" fmla="*/ 1973382 w 3950207"/>
              <a:gd name="connsiteY10" fmla="*/ 932717 h 3950207"/>
              <a:gd name="connsiteX11" fmla="*/ 1327035 w 3950207"/>
              <a:gd name="connsiteY11" fmla="*/ 1380172 h 3950207"/>
              <a:gd name="connsiteX12" fmla="*/ 1318118 w 3950207"/>
              <a:gd name="connsiteY12" fmla="*/ 1468079 h 3950207"/>
              <a:gd name="connsiteX13" fmla="*/ 1376901 w 3950207"/>
              <a:gd name="connsiteY13" fmla="*/ 1534057 h 3950207"/>
              <a:gd name="connsiteX14" fmla="*/ 1465266 w 3950207"/>
              <a:gd name="connsiteY14" fmla="*/ 1535320 h 3950207"/>
              <a:gd name="connsiteX15" fmla="*/ 1525886 w 3950207"/>
              <a:gd name="connsiteY15" fmla="*/ 1471065 h 3950207"/>
              <a:gd name="connsiteX16" fmla="*/ 1975105 w 3950207"/>
              <a:gd name="connsiteY16" fmla="*/ 1152158 h 3950207"/>
              <a:gd name="connsiteX17" fmla="*/ 1976827 w 3950207"/>
              <a:gd name="connsiteY17" fmla="*/ 1152158 h 3950207"/>
              <a:gd name="connsiteX18" fmla="*/ 2340281 w 3950207"/>
              <a:gd name="connsiteY18" fmla="*/ 1275621 h 3950207"/>
              <a:gd name="connsiteX19" fmla="*/ 2468869 w 3950207"/>
              <a:gd name="connsiteY19" fmla="*/ 1591080 h 3950207"/>
              <a:gd name="connsiteX20" fmla="*/ 2398605 w 3950207"/>
              <a:gd name="connsiteY20" fmla="*/ 1779675 h 3950207"/>
              <a:gd name="connsiteX21" fmla="*/ 2206561 w 3950207"/>
              <a:gd name="connsiteY21" fmla="*/ 1971679 h 3950207"/>
              <a:gd name="connsiteX22" fmla="*/ 1865385 w 3950207"/>
              <a:gd name="connsiteY22" fmla="*/ 2520319 h 3950207"/>
              <a:gd name="connsiteX23" fmla="*/ 1895618 w 3950207"/>
              <a:gd name="connsiteY23" fmla="*/ 2598811 h 3950207"/>
              <a:gd name="connsiteX24" fmla="*/ 1972542 w 3950207"/>
              <a:gd name="connsiteY24" fmla="*/ 2632833 h 3950207"/>
              <a:gd name="connsiteX25" fmla="*/ 2050957 w 3950207"/>
              <a:gd name="connsiteY25" fmla="*/ 2602447 h 3950207"/>
              <a:gd name="connsiteX26" fmla="*/ 2084826 w 3950207"/>
              <a:gd name="connsiteY26" fmla="*/ 2525485 h 3950207"/>
              <a:gd name="connsiteX27" fmla="*/ 2352297 w 3950207"/>
              <a:gd name="connsiteY27" fmla="*/ 2136274 h 3950207"/>
              <a:gd name="connsiteX28" fmla="*/ 2573458 w 3950207"/>
              <a:gd name="connsiteY28" fmla="*/ 1911665 h 3950207"/>
              <a:gd name="connsiteX29" fmla="*/ 2688349 w 3950207"/>
              <a:gd name="connsiteY29" fmla="*/ 1591073 h 3950207"/>
              <a:gd name="connsiteX30" fmla="*/ 2487733 w 3950207"/>
              <a:gd name="connsiteY30" fmla="*/ 1112737 h 3950207"/>
              <a:gd name="connsiteX31" fmla="*/ 1975107 w 3950207"/>
              <a:gd name="connsiteY31" fmla="*/ 932715 h 3950207"/>
              <a:gd name="connsiteX32" fmla="*/ 1973385 w 3950207"/>
              <a:gd name="connsiteY32" fmla="*/ 932715 h 3950207"/>
              <a:gd name="connsiteX33" fmla="*/ 1920225 w 3950207"/>
              <a:gd name="connsiteY33" fmla="*/ 2798094 h 3950207"/>
              <a:gd name="connsiteX34" fmla="*/ 1865383 w 3950207"/>
              <a:gd name="connsiteY34" fmla="*/ 2852973 h 3950207"/>
              <a:gd name="connsiteX35" fmla="*/ 1865383 w 3950207"/>
              <a:gd name="connsiteY35" fmla="*/ 2962691 h 3950207"/>
              <a:gd name="connsiteX36" fmla="*/ 1920225 w 3950207"/>
              <a:gd name="connsiteY36" fmla="*/ 3017533 h 3950207"/>
              <a:gd name="connsiteX37" fmla="*/ 2029982 w 3950207"/>
              <a:gd name="connsiteY37" fmla="*/ 3017533 h 3950207"/>
              <a:gd name="connsiteX38" fmla="*/ 2084824 w 3950207"/>
              <a:gd name="connsiteY38" fmla="*/ 2962691 h 3950207"/>
              <a:gd name="connsiteX39" fmla="*/ 2084824 w 3950207"/>
              <a:gd name="connsiteY39" fmla="*/ 2852973 h 3950207"/>
              <a:gd name="connsiteX40" fmla="*/ 2029982 w 3950207"/>
              <a:gd name="connsiteY40" fmla="*/ 2798094 h 395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950207" h="3950207">
                <a:moveTo>
                  <a:pt x="1975104" y="0"/>
                </a:moveTo>
                <a:cubicBezTo>
                  <a:pt x="885564" y="0"/>
                  <a:pt x="0" y="885613"/>
                  <a:pt x="0" y="1975104"/>
                </a:cubicBezTo>
                <a:cubicBezTo>
                  <a:pt x="0" y="3064595"/>
                  <a:pt x="885613" y="3950208"/>
                  <a:pt x="1975104" y="3950208"/>
                </a:cubicBezTo>
                <a:cubicBezTo>
                  <a:pt x="3064595" y="3950208"/>
                  <a:pt x="3950208" y="3064595"/>
                  <a:pt x="3950208" y="1975104"/>
                </a:cubicBezTo>
                <a:cubicBezTo>
                  <a:pt x="3950208" y="885613"/>
                  <a:pt x="3064595" y="0"/>
                  <a:pt x="1975104" y="0"/>
                </a:cubicBezTo>
                <a:close/>
                <a:moveTo>
                  <a:pt x="1975104" y="219476"/>
                </a:moveTo>
                <a:cubicBezTo>
                  <a:pt x="2946021" y="219476"/>
                  <a:pt x="3730752" y="1004207"/>
                  <a:pt x="3730752" y="1975124"/>
                </a:cubicBezTo>
                <a:cubicBezTo>
                  <a:pt x="3730752" y="2946040"/>
                  <a:pt x="2946021" y="3730772"/>
                  <a:pt x="1975104" y="3730772"/>
                </a:cubicBezTo>
                <a:cubicBezTo>
                  <a:pt x="1004188" y="3730772"/>
                  <a:pt x="219456" y="2946040"/>
                  <a:pt x="219456" y="1975124"/>
                </a:cubicBezTo>
                <a:cubicBezTo>
                  <a:pt x="219456" y="1004207"/>
                  <a:pt x="1004188" y="219476"/>
                  <a:pt x="1975104" y="219476"/>
                </a:cubicBezTo>
                <a:close/>
                <a:moveTo>
                  <a:pt x="1973382" y="932717"/>
                </a:moveTo>
                <a:cubicBezTo>
                  <a:pt x="1697220" y="935549"/>
                  <a:pt x="1446482" y="1114082"/>
                  <a:pt x="1327035" y="1380172"/>
                </a:cubicBezTo>
                <a:cubicBezTo>
                  <a:pt x="1311880" y="1406962"/>
                  <a:pt x="1308665" y="1438841"/>
                  <a:pt x="1318118" y="1468079"/>
                </a:cubicBezTo>
                <a:cubicBezTo>
                  <a:pt x="1327609" y="1497356"/>
                  <a:pt x="1348963" y="1521275"/>
                  <a:pt x="1376901" y="1534057"/>
                </a:cubicBezTo>
                <a:cubicBezTo>
                  <a:pt x="1404877" y="1546840"/>
                  <a:pt x="1436947" y="1547299"/>
                  <a:pt x="1465266" y="1535320"/>
                </a:cubicBezTo>
                <a:cubicBezTo>
                  <a:pt x="1493586" y="1523341"/>
                  <a:pt x="1515591" y="1500035"/>
                  <a:pt x="1525886" y="1471065"/>
                </a:cubicBezTo>
                <a:cubicBezTo>
                  <a:pt x="1612798" y="1277414"/>
                  <a:pt x="1795082" y="1154764"/>
                  <a:pt x="1975105" y="1152158"/>
                </a:cubicBezTo>
                <a:lnTo>
                  <a:pt x="1976827" y="1152158"/>
                </a:lnTo>
                <a:cubicBezTo>
                  <a:pt x="2136109" y="1153689"/>
                  <a:pt x="2258269" y="1200952"/>
                  <a:pt x="2340281" y="1275621"/>
                </a:cubicBezTo>
                <a:cubicBezTo>
                  <a:pt x="2422638" y="1350554"/>
                  <a:pt x="2468869" y="1454155"/>
                  <a:pt x="2468869" y="1591080"/>
                </a:cubicBezTo>
                <a:cubicBezTo>
                  <a:pt x="2468869" y="1662262"/>
                  <a:pt x="2445179" y="1717600"/>
                  <a:pt x="2398605" y="1779675"/>
                </a:cubicBezTo>
                <a:cubicBezTo>
                  <a:pt x="2351992" y="1841710"/>
                  <a:pt x="2281499" y="1904970"/>
                  <a:pt x="2206561" y="1971679"/>
                </a:cubicBezTo>
                <a:cubicBezTo>
                  <a:pt x="2056694" y="2105126"/>
                  <a:pt x="1870666" y="2265133"/>
                  <a:pt x="1865385" y="2520319"/>
                </a:cubicBezTo>
                <a:cubicBezTo>
                  <a:pt x="1864658" y="2549481"/>
                  <a:pt x="1875527" y="2577686"/>
                  <a:pt x="1895618" y="2598811"/>
                </a:cubicBezTo>
                <a:cubicBezTo>
                  <a:pt x="1915710" y="2619897"/>
                  <a:pt x="1943379" y="2632144"/>
                  <a:pt x="1972542" y="2632833"/>
                </a:cubicBezTo>
                <a:cubicBezTo>
                  <a:pt x="2001666" y="2633522"/>
                  <a:pt x="2029870" y="2622577"/>
                  <a:pt x="2050957" y="2602447"/>
                </a:cubicBezTo>
                <a:cubicBezTo>
                  <a:pt x="2072005" y="2582316"/>
                  <a:pt x="2084213" y="2554609"/>
                  <a:pt x="2084826" y="2525485"/>
                </a:cubicBezTo>
                <a:cubicBezTo>
                  <a:pt x="2087887" y="2377725"/>
                  <a:pt x="2202470" y="2269692"/>
                  <a:pt x="2352297" y="2136274"/>
                </a:cubicBezTo>
                <a:cubicBezTo>
                  <a:pt x="2427192" y="2069569"/>
                  <a:pt x="2508209" y="1998575"/>
                  <a:pt x="2573458" y="1911665"/>
                </a:cubicBezTo>
                <a:cubicBezTo>
                  <a:pt x="2638709" y="1824753"/>
                  <a:pt x="2688349" y="1717368"/>
                  <a:pt x="2688349" y="1591073"/>
                </a:cubicBezTo>
                <a:cubicBezTo>
                  <a:pt x="2688349" y="1400636"/>
                  <a:pt x="2616134" y="1229578"/>
                  <a:pt x="2487733" y="1112737"/>
                </a:cubicBezTo>
                <a:cubicBezTo>
                  <a:pt x="2359342" y="995857"/>
                  <a:pt x="2178898" y="934164"/>
                  <a:pt x="1975107" y="932715"/>
                </a:cubicBezTo>
                <a:cubicBezTo>
                  <a:pt x="1974533" y="932676"/>
                  <a:pt x="1973959" y="932676"/>
                  <a:pt x="1973385" y="932715"/>
                </a:cubicBezTo>
                <a:close/>
                <a:moveTo>
                  <a:pt x="1920225" y="2798094"/>
                </a:moveTo>
                <a:cubicBezTo>
                  <a:pt x="1889838" y="2798094"/>
                  <a:pt x="1865383" y="2822548"/>
                  <a:pt x="1865383" y="2852973"/>
                </a:cubicBezTo>
                <a:lnTo>
                  <a:pt x="1865383" y="2962691"/>
                </a:lnTo>
                <a:cubicBezTo>
                  <a:pt x="1865383" y="2993078"/>
                  <a:pt x="1889838" y="3017533"/>
                  <a:pt x="1920225" y="3017533"/>
                </a:cubicBezTo>
                <a:lnTo>
                  <a:pt x="2029982" y="3017533"/>
                </a:lnTo>
                <a:cubicBezTo>
                  <a:pt x="2060369" y="3017533"/>
                  <a:pt x="2084824" y="2993078"/>
                  <a:pt x="2084824" y="2962691"/>
                </a:cubicBezTo>
                <a:lnTo>
                  <a:pt x="2084824" y="2852973"/>
                </a:lnTo>
                <a:cubicBezTo>
                  <a:pt x="2084824" y="2822548"/>
                  <a:pt x="2060369" y="2798094"/>
                  <a:pt x="2029982" y="27980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436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9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88</cp:revision>
  <dcterms:created xsi:type="dcterms:W3CDTF">2021-03-31T02:49:57Z</dcterms:created>
  <dcterms:modified xsi:type="dcterms:W3CDTF">2025-10-16T11:44:04Z</dcterms:modified>
  <cp:category/>
</cp:coreProperties>
</file>